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7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8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9.xml" ContentType="application/vnd.openxmlformats-officedocument.theme+xml"/>
  <Override PartName="/ppt/tags/tag34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73" r:id="rId2"/>
    <p:sldMasterId id="2147483687" r:id="rId3"/>
    <p:sldMasterId id="2147483779" r:id="rId4"/>
    <p:sldMasterId id="2147483793" r:id="rId5"/>
    <p:sldMasterId id="2147483806" r:id="rId6"/>
    <p:sldMasterId id="2147483817" r:id="rId7"/>
    <p:sldMasterId id="2147483829" r:id="rId8"/>
    <p:sldMasterId id="2147483842" r:id="rId9"/>
    <p:sldMasterId id="2147483864" r:id="rId10"/>
  </p:sldMasterIdLst>
  <p:notesMasterIdLst>
    <p:notesMasterId r:id="rId37"/>
  </p:notesMasterIdLst>
  <p:sldIdLst>
    <p:sldId id="256" r:id="rId11"/>
    <p:sldId id="327" r:id="rId12"/>
    <p:sldId id="328" r:id="rId13"/>
    <p:sldId id="329" r:id="rId14"/>
    <p:sldId id="330" r:id="rId15"/>
    <p:sldId id="331" r:id="rId16"/>
    <p:sldId id="332" r:id="rId17"/>
    <p:sldId id="333" r:id="rId18"/>
    <p:sldId id="334" r:id="rId19"/>
    <p:sldId id="363" r:id="rId20"/>
    <p:sldId id="335" r:id="rId21"/>
    <p:sldId id="336" r:id="rId22"/>
    <p:sldId id="337" r:id="rId23"/>
    <p:sldId id="338" r:id="rId24"/>
    <p:sldId id="362" r:id="rId25"/>
    <p:sldId id="347" r:id="rId26"/>
    <p:sldId id="348" r:id="rId27"/>
    <p:sldId id="349" r:id="rId28"/>
    <p:sldId id="350" r:id="rId29"/>
    <p:sldId id="351" r:id="rId30"/>
    <p:sldId id="352" r:id="rId31"/>
    <p:sldId id="353" r:id="rId32"/>
    <p:sldId id="354" r:id="rId33"/>
    <p:sldId id="365" r:id="rId34"/>
    <p:sldId id="364" r:id="rId35"/>
    <p:sldId id="259" r:id="rId3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212" userDrawn="1">
          <p15:clr>
            <a:srgbClr val="A4A3A4"/>
          </p15:clr>
        </p15:guide>
        <p15:guide id="2" pos="912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orient="horz" pos="25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3F3F"/>
    <a:srgbClr val="1A2442"/>
    <a:srgbClr val="35DF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21" autoAdjust="0"/>
    <p:restoredTop sz="93896" autoAdjust="0"/>
  </p:normalViewPr>
  <p:slideViewPr>
    <p:cSldViewPr snapToGrid="0">
      <p:cViewPr varScale="1">
        <p:scale>
          <a:sx n="87" d="100"/>
          <a:sy n="87" d="100"/>
        </p:scale>
        <p:origin x="648" y="56"/>
      </p:cViewPr>
      <p:guideLst>
        <p:guide orient="horz" pos="1212"/>
        <p:guide pos="912"/>
        <p:guide pos="3120"/>
        <p:guide orient="horz" pos="2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283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viewProps" Target="viewProps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91996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6277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390982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85719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86087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16429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76894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15192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82159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418916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792906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6043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  <a:r>
              <a:rPr lang="en-US" baseline="0" dirty="0" smtClean="0"/>
              <a:t> IS RPA?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is a computer-coded software that does what a person can do in a computer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is purely RULE BASED, meaning, it is greatly dependent on how we describe the process to it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is scalable. It can be multiplied based on the need on the process and optimized to increase it’s productivity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is Cross Functional because robots can work with each other and Cross Application Macros because it can open 2 or more applications based on the need in the process.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It can be scheduled or manually triggered.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20D1F33-DDF1-41E5-A2C2-9A0D5FD4A462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/>
              <a:t>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124704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438010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5afc3cfbb9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5afc3cfbb9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31485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20D1F33-DDF1-41E5-A2C2-9A0D5FD4A462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/>
              <a:t>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33841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20D1F33-DDF1-41E5-A2C2-9A0D5FD4A462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/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71548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9" name="Google Shape;20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97852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5df4bb7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5df4bb7f08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052023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5df4bb7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5df4bb7f08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02176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5d479e855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5d479e855d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505200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E5408-B09E-4C66-95FF-F583AAE120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8292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3.wmf"/><Relationship Id="rId4" Type="http://schemas.openxmlformats.org/officeDocument/2006/relationships/oleObject" Target="../embeddings/oleObject19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5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5930DF0-104B-4293-A7F6-66AEFF3E6AF8}"/>
              </a:ext>
            </a:extLst>
          </p:cNvPr>
          <p:cNvGrpSpPr/>
          <p:nvPr userDrawn="1"/>
        </p:nvGrpSpPr>
        <p:grpSpPr>
          <a:xfrm>
            <a:off x="9415915" y="1"/>
            <a:ext cx="1235642" cy="1362074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xmlns="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>
                <a:buClrTx/>
                <a:buFontTx/>
                <a:buNone/>
              </a:pP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900" i="1" kern="1200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63026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165182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143347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0" name="Google Shape;60;p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" name="Google Shape;61;p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798453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125020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95411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44818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3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63050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5315428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3167342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4550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1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1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4759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459350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834364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40451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307954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2744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169848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89702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67950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684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681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30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3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6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09830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3951937" y="1892461"/>
            <a:ext cx="1252052" cy="1831694"/>
          </a:xfrm>
        </p:spPr>
        <p:txBody>
          <a:bodyPr>
            <a:normAutofit/>
          </a:bodyPr>
          <a:lstStyle>
            <a:lvl1pPr marL="0" indent="0">
              <a:buNone/>
              <a:defRPr sz="85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7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9044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4257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31291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E2957-80E3-43DF-A54A-37B93A4B0133}" type="datetimeFigureOut">
              <a:rPr lang="en-US" smtClean="0"/>
              <a:t>12/19/2019</a:t>
            </a:fld>
            <a:endParaRPr lang="en-US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C6157-155E-4435-B4A0-30EA0DD885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17773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2026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7304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76BE576-688E-4E2C-A55A-47FA5348F8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76BE576-688E-4E2C-A55A-47FA5348F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429509" y="293910"/>
            <a:ext cx="8255871" cy="461635"/>
          </a:xfrm>
        </p:spPr>
        <p:txBody>
          <a:bodyPr>
            <a:sp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/>
            <a:endParaRPr lang="en-GB" sz="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xmlns="" id="{744512FD-CD3A-4920-BCF5-466BCDF2E224}"/>
              </a:ext>
            </a:extLst>
          </p:cNvPr>
          <p:cNvSpPr>
            <a:spLocks/>
          </p:cNvSpPr>
          <p:nvPr userDrawn="1"/>
        </p:nvSpPr>
        <p:spPr bwMode="auto">
          <a:xfrm>
            <a:off x="4520358" y="4760352"/>
            <a:ext cx="185948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825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s-ES_tradnl" altLang="es-ES" sz="825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861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7" name="Google Shape;17;p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0093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37589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3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el </a:t>
            </a:r>
            <a:r>
              <a:rPr lang="es-ES" dirty="0"/>
              <a:t>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3" y="3639823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64251" y="4752977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761" y="4589248"/>
            <a:ext cx="1346367" cy="267137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:a16="http://schemas.microsoft.com/office/drawing/2014/main" xmlns="" id="{72D46510-3BCB-3746-AD05-84A58DE8C86D}"/>
              </a:ext>
            </a:extLst>
          </p:cNvPr>
          <p:cNvGrpSpPr/>
          <p:nvPr userDrawn="1"/>
        </p:nvGrpSpPr>
        <p:grpSpPr>
          <a:xfrm>
            <a:off x="5134782" y="1009524"/>
            <a:ext cx="1569938" cy="2773505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xmlns="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xmlns="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xmlns="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xmlns="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xmlns="" id="{EB2B45F2-8D32-A344-93BE-979FC74FCFB7}"/>
              </a:ext>
            </a:extLst>
          </p:cNvPr>
          <p:cNvGrpSpPr/>
          <p:nvPr userDrawn="1"/>
        </p:nvGrpSpPr>
        <p:grpSpPr>
          <a:xfrm>
            <a:off x="6116089" y="1009524"/>
            <a:ext cx="1569938" cy="2773505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xmlns="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xmlns="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xmlns="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xmlns="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xmlns="" id="{C733D58C-D2A1-9040-B07D-82C6EAEF6E32}"/>
              </a:ext>
            </a:extLst>
          </p:cNvPr>
          <p:cNvGrpSpPr/>
          <p:nvPr userDrawn="1"/>
        </p:nvGrpSpPr>
        <p:grpSpPr>
          <a:xfrm>
            <a:off x="7097397" y="1009524"/>
            <a:ext cx="1569938" cy="2773505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xmlns="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xmlns="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xmlns="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xmlns="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05735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58482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715399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2991040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110889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0664307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4431384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917877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3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918707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91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99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833567"/>
            <a:ext cx="4320000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199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8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8" y="2036622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6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3994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1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240344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194691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41213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14147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27248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544385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305620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84037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11400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423604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950214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49316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36543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06561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693337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843137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055579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18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423">
              <a:buClrTx/>
              <a:buFontTx/>
              <a:buNone/>
              <a:defRPr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 defTabSz="685423">
                <a:buClrTx/>
                <a:buFontTx/>
                <a:buNone/>
                <a:defRPr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214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56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423">
              <a:buClrTx/>
              <a:buFontTx/>
              <a:buNone/>
              <a:defRPr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 defTabSz="685423">
                <a:buClrTx/>
                <a:buFontTx/>
                <a:buNone/>
                <a:defRPr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726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903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984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487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386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058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0643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3720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0883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6089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8715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1503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4088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6673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98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873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05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524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capítulo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52089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59533" y="2679762"/>
            <a:ext cx="5557145" cy="6915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</a:t>
            </a:r>
            <a:br>
              <a:rPr lang="es-ES" dirty="0" smtClean="0"/>
            </a:br>
            <a:r>
              <a:rPr lang="es-ES" dirty="0" smtClean="0"/>
              <a:t>estilo de título del patrón</a:t>
            </a:r>
            <a:endParaRPr lang="es-ES" dirty="0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2" y="927704"/>
            <a:ext cx="2990851" cy="7730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650">
                <a:solidFill>
                  <a:schemeClr val="tx1"/>
                </a:solidFill>
              </a:defRPr>
            </a:lvl1pPr>
            <a:lvl2pPr marL="339978" indent="0">
              <a:buNone/>
              <a:defRPr/>
            </a:lvl2pPr>
            <a:lvl3pPr marL="678491" indent="0">
              <a:buNone/>
              <a:defRPr/>
            </a:lvl3pPr>
            <a:lvl4pPr marL="1018469" indent="0">
              <a:buNone/>
              <a:defRPr/>
            </a:lvl4pPr>
            <a:lvl5pPr marL="1348187" indent="0">
              <a:buNone/>
              <a:defRPr/>
            </a:lvl5pPr>
          </a:lstStyle>
          <a:p>
            <a:pPr lvl="0"/>
            <a:r>
              <a:rPr lang="es-ES_tradnl" dirty="0" smtClean="0"/>
              <a:t>00</a:t>
            </a:r>
            <a:endParaRPr lang="es-ES" dirty="0"/>
          </a:p>
        </p:txBody>
      </p:sp>
      <p:sp>
        <p:nvSpPr>
          <p:cNvPr id="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33" y="3780420"/>
            <a:ext cx="4343195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>
                <a:solidFill>
                  <a:schemeClr val="tx1"/>
                </a:solidFill>
                <a:latin typeface="Playfair Display" panose="00000500000000000000" pitchFamily="2" charset="0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57622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 userDrawn="1"/>
        </p:nvSpPr>
        <p:spPr>
          <a:xfrm>
            <a:off x="-11700" y="0"/>
            <a:ext cx="9155700" cy="1039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349" kern="120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9569" y="368499"/>
            <a:ext cx="8532911" cy="475059"/>
          </a:xfrm>
          <a:prstGeom prst="rect">
            <a:avLst/>
          </a:prstGeom>
        </p:spPr>
        <p:txBody>
          <a:bodyPr/>
          <a:lstStyle>
            <a:lvl1pPr>
              <a:defRPr lang="es-ES" sz="1650" b="0" kern="1200" baseline="0" dirty="0">
                <a:solidFill>
                  <a:schemeClr val="bg1"/>
                </a:solidFill>
                <a:latin typeface="Soho Gothic Pro Light" panose="020B03030305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algn="l" defTabSz="633062" rtl="0" eaLnBrk="1" latinLnBrk="0" hangingPunct="1">
              <a:spcBef>
                <a:spcPct val="0"/>
              </a:spcBef>
              <a:buNone/>
              <a:tabLst>
                <a:tab pos="3362325" algn="l"/>
              </a:tabLst>
              <a:defRPr/>
            </a:pPr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69" y="249492"/>
            <a:ext cx="8539181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ayfair Display" panose="00000500000000000000" pitchFamily="2" charset="0"/>
                <a:ea typeface="+mn-ea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633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86189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 userDrawn="1"/>
        </p:nvSpPr>
        <p:spPr>
          <a:xfrm>
            <a:off x="-11700" y="0"/>
            <a:ext cx="1991412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349" kern="120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9569" y="368499"/>
            <a:ext cx="1566137" cy="475059"/>
          </a:xfrm>
          <a:prstGeom prst="rect">
            <a:avLst/>
          </a:prstGeom>
        </p:spPr>
        <p:txBody>
          <a:bodyPr/>
          <a:lstStyle>
            <a:lvl1pPr>
              <a:defRPr lang="es-ES" sz="1650" b="0" kern="1200" baseline="0" dirty="0">
                <a:solidFill>
                  <a:schemeClr val="bg1"/>
                </a:solidFill>
                <a:latin typeface="Soho Gothic Pro Light" panose="020B03030305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algn="l" defTabSz="633062" rtl="0" eaLnBrk="1" latinLnBrk="0" hangingPunct="1">
              <a:spcBef>
                <a:spcPct val="0"/>
              </a:spcBef>
              <a:buNone/>
              <a:tabLst>
                <a:tab pos="3362325" algn="l"/>
              </a:tabLst>
              <a:defRPr/>
            </a:pPr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69" y="249492"/>
            <a:ext cx="1566137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s-ES" sz="750" kern="1200" dirty="0" smtClean="0">
                <a:solidFill>
                  <a:schemeClr val="bg1"/>
                </a:solidFill>
                <a:latin typeface="Playfair Display" panose="00000500000000000000" pitchFamily="2" charset="0"/>
                <a:ea typeface="+mn-ea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lvl="0" indent="0" algn="just" defTabSz="633062" rtl="0" eaLnBrk="1" latinLnBrk="0" hangingPunct="1">
              <a:spcBef>
                <a:spcPct val="20000"/>
              </a:spcBef>
              <a:buClr>
                <a:srgbClr val="3D3935">
                  <a:lumMod val="75000"/>
                </a:srgbClr>
              </a:buClr>
              <a:buFont typeface="Arial" pitchFamily="34" charset="0"/>
              <a:buNone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75657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89438" y="259984"/>
            <a:ext cx="8338038" cy="583574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86256" y="156006"/>
            <a:ext cx="8341223" cy="141480"/>
          </a:xfrm>
        </p:spPr>
        <p:txBody>
          <a:bodyPr anchor="ctr">
            <a:noAutofit/>
          </a:bodyPr>
          <a:lstStyle>
            <a:lvl1pPr marL="0" indent="0">
              <a:buNone/>
              <a:defRPr sz="900">
                <a:solidFill>
                  <a:schemeClr val="accent5"/>
                </a:solidFill>
                <a:latin typeface="Playfair Display" panose="00000500000000000000" pitchFamily="2" charset="0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7848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00">
        <p14:prism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imp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1261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673305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3062" y="273911"/>
            <a:ext cx="8597901" cy="703421"/>
          </a:xfrm>
          <a:prstGeom prst="rect">
            <a:avLst/>
          </a:prstGeom>
        </p:spPr>
        <p:txBody>
          <a:bodyPr lIns="68544" tIns="34289" rIns="68544" bIns="34289"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73051" y="26616"/>
            <a:ext cx="6508750" cy="220891"/>
          </a:xfrm>
          <a:prstGeom prst="rect">
            <a:avLst/>
          </a:prstGeom>
          <a:noFill/>
        </p:spPr>
        <p:txBody>
          <a:bodyPr wrap="square" lIns="0" tIns="34289" rIns="68544" bIns="34289" rtlCol="0" anchor="ctr">
            <a:noAutofit/>
          </a:bodyPr>
          <a:lstStyle>
            <a:lvl1pPr>
              <a:defRPr lang="en-US" sz="825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050" dirty="0" smtClean="0">
                <a:solidFill>
                  <a:schemeClr val="tx1"/>
                </a:solidFill>
              </a:defRPr>
            </a:lvl3pPr>
            <a:lvl4pPr>
              <a:defRPr lang="en-US" sz="1050" dirty="0" smtClean="0">
                <a:solidFill>
                  <a:schemeClr val="tx1"/>
                </a:solidFill>
              </a:defRPr>
            </a:lvl4pPr>
            <a:lvl5pPr>
              <a:defRPr lang="en-US" sz="105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72901" y="742950"/>
            <a:ext cx="8610600" cy="342900"/>
          </a:xfrm>
          <a:prstGeom prst="rect">
            <a:avLst/>
          </a:prstGeom>
        </p:spPr>
        <p:txBody>
          <a:bodyPr lIns="68544" tIns="34289" rIns="68544" bIns="34289"/>
          <a:lstStyle>
            <a:lvl1pPr>
              <a:defRPr sz="1125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454658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800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717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3810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9C65CE8-4186-4EF3-A508-A12E5E686468}"/>
              </a:ext>
            </a:extLst>
          </p:cNvPr>
          <p:cNvGrpSpPr/>
          <p:nvPr userDrawn="1"/>
        </p:nvGrpSpPr>
        <p:grpSpPr>
          <a:xfrm>
            <a:off x="9415915" y="1"/>
            <a:ext cx="1235642" cy="1362074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xmlns="" id="{0A32BB05-B08C-4D73-BFF9-25A2D9328D4D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>
                <a:buClrTx/>
                <a:buFontTx/>
                <a:buNone/>
              </a:pP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900" i="1" kern="1200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BC568985-A849-45B0-B77A-2F6998D822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04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2914650"/>
            <a:ext cx="9144000" cy="222885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914240">
              <a:buClrTx/>
              <a:buFontTx/>
              <a:buNone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1" y="2915338"/>
            <a:ext cx="7772400" cy="458115"/>
          </a:xfrm>
        </p:spPr>
        <p:txBody>
          <a:bodyPr/>
          <a:lstStyle>
            <a:lvl1pPr algn="ctr">
              <a:defRPr lang="en-US" sz="3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99265"/>
            <a:ext cx="6400801" cy="573330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0776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1" y="1597821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1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6297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3198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021556"/>
          </a:xfrm>
        </p:spPr>
        <p:txBody>
          <a:bodyPr anchor="t"/>
          <a:lstStyle>
            <a:lvl1pPr algn="l">
              <a:defRPr sz="3975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1pPr>
            <a:lvl2pPr marL="45712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40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3pPr>
            <a:lvl4pPr marL="137136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4pPr>
            <a:lvl5pPr marL="182848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5pPr>
            <a:lvl6pPr marL="228560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6pPr>
            <a:lvl7pPr marL="274272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7pPr>
            <a:lvl8pPr marL="319984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8pPr>
            <a:lvl9pPr marL="365696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7193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472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472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952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6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20" indent="0">
              <a:buNone/>
              <a:defRPr sz="2025" b="1"/>
            </a:lvl2pPr>
            <a:lvl3pPr marL="914240" indent="0">
              <a:buNone/>
              <a:defRPr sz="1800" b="1"/>
            </a:lvl3pPr>
            <a:lvl4pPr marL="1371360" indent="0">
              <a:buNone/>
              <a:defRPr sz="1575" b="1"/>
            </a:lvl4pPr>
            <a:lvl5pPr marL="1828480" indent="0">
              <a:buNone/>
              <a:defRPr sz="1575" b="1"/>
            </a:lvl5pPr>
            <a:lvl6pPr marL="2285600" indent="0">
              <a:buNone/>
              <a:defRPr sz="1575" b="1"/>
            </a:lvl6pPr>
            <a:lvl7pPr marL="2742720" indent="0">
              <a:buNone/>
              <a:defRPr sz="1575" b="1"/>
            </a:lvl7pPr>
            <a:lvl8pPr marL="3199840" indent="0">
              <a:buNone/>
              <a:defRPr sz="1575" b="1"/>
            </a:lvl8pPr>
            <a:lvl9pPr marL="3656960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6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20" indent="0">
              <a:buNone/>
              <a:defRPr sz="2025" b="1"/>
            </a:lvl2pPr>
            <a:lvl3pPr marL="914240" indent="0">
              <a:buNone/>
              <a:defRPr sz="1800" b="1"/>
            </a:lvl3pPr>
            <a:lvl4pPr marL="1371360" indent="0">
              <a:buNone/>
              <a:defRPr sz="1575" b="1"/>
            </a:lvl4pPr>
            <a:lvl5pPr marL="1828480" indent="0">
              <a:buNone/>
              <a:defRPr sz="1575" b="1"/>
            </a:lvl5pPr>
            <a:lvl6pPr marL="2285600" indent="0">
              <a:buNone/>
              <a:defRPr sz="1575" b="1"/>
            </a:lvl6pPr>
            <a:lvl7pPr marL="2742720" indent="0">
              <a:buNone/>
              <a:defRPr sz="1575" b="1"/>
            </a:lvl7pPr>
            <a:lvl8pPr marL="3199840" indent="0">
              <a:buNone/>
              <a:defRPr sz="1575" b="1"/>
            </a:lvl8pPr>
            <a:lvl9pPr marL="3656960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6622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772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21985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8"/>
            <a:ext cx="3008313" cy="871538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25"/>
            </a:lvl1pPr>
            <a:lvl2pPr>
              <a:defRPr sz="2775"/>
            </a:lvl2pPr>
            <a:lvl3pPr>
              <a:defRPr sz="240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25"/>
            </a:lvl1pPr>
            <a:lvl2pPr marL="457120" indent="0">
              <a:buNone/>
              <a:defRPr sz="1200"/>
            </a:lvl2pPr>
            <a:lvl3pPr marL="914240" indent="0">
              <a:buNone/>
              <a:defRPr sz="975"/>
            </a:lvl3pPr>
            <a:lvl4pPr marL="1371360" indent="0">
              <a:buNone/>
              <a:defRPr sz="900"/>
            </a:lvl4pPr>
            <a:lvl5pPr marL="1828480" indent="0">
              <a:buNone/>
              <a:defRPr sz="900"/>
            </a:lvl5pPr>
            <a:lvl6pPr marL="2285600" indent="0">
              <a:buNone/>
              <a:defRPr sz="900"/>
            </a:lvl6pPr>
            <a:lvl7pPr marL="2742720" indent="0">
              <a:buNone/>
              <a:defRPr sz="900"/>
            </a:lvl7pPr>
            <a:lvl8pPr marL="3199840" indent="0">
              <a:buNone/>
              <a:defRPr sz="900"/>
            </a:lvl8pPr>
            <a:lvl9pPr marL="365696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5150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9" y="3600451"/>
            <a:ext cx="5486400" cy="425054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9" y="459581"/>
            <a:ext cx="5486400" cy="3086100"/>
          </a:xfrm>
        </p:spPr>
        <p:txBody>
          <a:bodyPr/>
          <a:lstStyle>
            <a:lvl1pPr marL="0" indent="0">
              <a:buNone/>
              <a:defRPr sz="3225"/>
            </a:lvl1pPr>
            <a:lvl2pPr marL="457120" indent="0">
              <a:buNone/>
              <a:defRPr sz="2775"/>
            </a:lvl2pPr>
            <a:lvl3pPr marL="914240" indent="0">
              <a:buNone/>
              <a:defRPr sz="2400"/>
            </a:lvl3pPr>
            <a:lvl4pPr marL="1371360" indent="0">
              <a:buNone/>
              <a:defRPr sz="2025"/>
            </a:lvl4pPr>
            <a:lvl5pPr marL="1828480" indent="0">
              <a:buNone/>
              <a:defRPr sz="2025"/>
            </a:lvl5pPr>
            <a:lvl6pPr marL="2285600" indent="0">
              <a:buNone/>
              <a:defRPr sz="2025"/>
            </a:lvl6pPr>
            <a:lvl7pPr marL="2742720" indent="0">
              <a:buNone/>
              <a:defRPr sz="2025"/>
            </a:lvl7pPr>
            <a:lvl8pPr marL="3199840" indent="0">
              <a:buNone/>
              <a:defRPr sz="2025"/>
            </a:lvl8pPr>
            <a:lvl9pPr marL="3656960" indent="0">
              <a:buNone/>
              <a:defRPr sz="2025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9" y="4025505"/>
            <a:ext cx="5486400" cy="603647"/>
          </a:xfrm>
        </p:spPr>
        <p:txBody>
          <a:bodyPr/>
          <a:lstStyle>
            <a:lvl1pPr marL="0" indent="0">
              <a:buNone/>
              <a:defRPr sz="1425"/>
            </a:lvl1pPr>
            <a:lvl2pPr marL="457120" indent="0">
              <a:buNone/>
              <a:defRPr sz="1200"/>
            </a:lvl2pPr>
            <a:lvl3pPr marL="914240" indent="0">
              <a:buNone/>
              <a:defRPr sz="975"/>
            </a:lvl3pPr>
            <a:lvl4pPr marL="1371360" indent="0">
              <a:buNone/>
              <a:defRPr sz="900"/>
            </a:lvl4pPr>
            <a:lvl5pPr marL="1828480" indent="0">
              <a:buNone/>
              <a:defRPr sz="900"/>
            </a:lvl5pPr>
            <a:lvl6pPr marL="2285600" indent="0">
              <a:buNone/>
              <a:defRPr sz="900"/>
            </a:lvl6pPr>
            <a:lvl7pPr marL="2742720" indent="0">
              <a:buNone/>
              <a:defRPr sz="900"/>
            </a:lvl7pPr>
            <a:lvl8pPr marL="3199840" indent="0">
              <a:buNone/>
              <a:defRPr sz="900"/>
            </a:lvl8pPr>
            <a:lvl9pPr marL="365696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5436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018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2553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60463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28554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11976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1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1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72865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70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2384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3047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1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6987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70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1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17144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17144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80943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9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71904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4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4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892" marR="0" lvl="0" indent="-30479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783" marR="0" lvl="1" indent="-28574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675" marR="0" lvl="2" indent="-26669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566" marR="0" lvl="3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457" marR="0" lvl="4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348" marR="0" lvl="5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240" marR="0" lvl="6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132" marR="0" lvl="7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023" marR="0" lvl="8" indent="-25716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082979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70418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69506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6941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27779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1500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3174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414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6285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5839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P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4235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55024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5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73672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323358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model2">
  <p:cSld name="slidemodel2">
    <p:bg>
      <p:bgPr>
        <a:gradFill>
          <a:gsLst>
            <a:gs pos="0">
              <a:srgbClr val="1181AE"/>
            </a:gs>
            <a:gs pos="5500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3"/>
          <p:cNvSpPr txBox="1">
            <a:spLocks noGrp="1"/>
          </p:cNvSpPr>
          <p:nvPr>
            <p:ph type="title"/>
          </p:nvPr>
        </p:nvSpPr>
        <p:spPr>
          <a:xfrm>
            <a:off x="2414005" y="2152976"/>
            <a:ext cx="4449167" cy="5333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  <a:defRPr sz="27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26563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99946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61125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6505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9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31.xml"/><Relationship Id="rId34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52.xml"/><Relationship Id="rId47" Type="http://schemas.openxmlformats.org/officeDocument/2006/relationships/slideLayout" Target="../slideLayouts/slideLayout57.xml"/><Relationship Id="rId50" Type="http://schemas.openxmlformats.org/officeDocument/2006/relationships/slideLayout" Target="../slideLayouts/slideLayout60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50.xml"/><Relationship Id="rId45" Type="http://schemas.openxmlformats.org/officeDocument/2006/relationships/slideLayout" Target="../slideLayouts/slideLayout55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52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48" Type="http://schemas.openxmlformats.org/officeDocument/2006/relationships/slideLayout" Target="../slideLayouts/slideLayout58.xml"/><Relationship Id="rId8" Type="http://schemas.openxmlformats.org/officeDocument/2006/relationships/slideLayout" Target="../slideLayouts/slideLayout18.xml"/><Relationship Id="rId51" Type="http://schemas.openxmlformats.org/officeDocument/2006/relationships/slideLayout" Target="../slideLayouts/slideLayout61.xml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5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2.xml"/><Relationship Id="rId4" Type="http://schemas.openxmlformats.org/officeDocument/2006/relationships/hyperlink" Target="http://www.presentationgo.com/" TargetMode="Externa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image" Target="../media/image12.jpg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F3F3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7914948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algn="ctr">
              <a:buClrTx/>
              <a:buFontTx/>
              <a:buNone/>
              <a:defRPr/>
            </a:pP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2400" kern="1200" spc="113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5" y="5219701"/>
            <a:ext cx="1225015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825" kern="1200" dirty="0">
                <a:solidFill>
                  <a:srgbClr val="555555"/>
                </a:solidFill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lang="en-US" sz="825" kern="1200" dirty="0">
                <a:solidFill>
                  <a:srgbClr val="A5CD28"/>
                </a:solidFill>
                <a:latin typeface="Open Sans" panose="020B0606030504020204" pitchFamily="34" charset="0"/>
                <a:ea typeface="+mn-ea"/>
                <a:cs typeface="+mn-cs"/>
                <a:hlinkClick r:id="rId3" tooltip="PresentationGo!"/>
              </a:rPr>
              <a:t>presentationgo.com</a:t>
            </a:r>
            <a:endParaRPr lang="en-US" sz="825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Tx/>
              <a:buFontTx/>
              <a:buNone/>
            </a:pPr>
            <a:endParaRPr lang="en-US" sz="1350" kern="12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13836" cy="482192"/>
            <a:chOff x="-2096383" y="21447"/>
            <a:chExt cx="1618448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321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52407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0708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431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0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  <p:sldLayoutId id="2147483729" r:id="rId42"/>
    <p:sldLayoutId id="2147483730" r:id="rId43"/>
    <p:sldLayoutId id="2147483731" r:id="rId44"/>
    <p:sldLayoutId id="2147483732" r:id="rId45"/>
    <p:sldLayoutId id="2147483733" r:id="rId46"/>
    <p:sldLayoutId id="2147483734" r:id="rId47"/>
    <p:sldLayoutId id="2147483735" r:id="rId48"/>
    <p:sldLayoutId id="2147483736" r:id="rId49"/>
    <p:sldLayoutId id="2147483737" r:id="rId50"/>
    <p:sldLayoutId id="2147483738" r:id="rId51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5">
          <p15:clr>
            <a:srgbClr val="F26B43"/>
          </p15:clr>
        </p15:guide>
        <p15:guide id="2" orient="horz" pos="4035">
          <p15:clr>
            <a:srgbClr val="F26B43"/>
          </p15:clr>
        </p15:guide>
        <p15:guide id="3" pos="3840">
          <p15:clr>
            <a:srgbClr val="F26B43"/>
          </p15:clr>
        </p15:guide>
        <p15:guide id="4" pos="7468">
          <p15:clr>
            <a:srgbClr val="F26B43"/>
          </p15:clr>
        </p15:guide>
        <p15:guide id="5" pos="212">
          <p15:clr>
            <a:srgbClr val="F26B43"/>
          </p15:clr>
        </p15:guide>
        <p15:guide id="6" orient="horz" pos="769">
          <p15:clr>
            <a:srgbClr val="F26B43"/>
          </p15:clr>
        </p15:guide>
        <p15:guide id="7" orient="horz" pos="36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323A45"/>
            </a:gs>
            <a:gs pos="35000">
              <a:srgbClr val="323A45"/>
            </a:gs>
            <a:gs pos="100000">
              <a:srgbClr val="1C2026"/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algn="ctr">
              <a:buClrTx/>
              <a:buFontTx/>
              <a:buNone/>
              <a:defRPr/>
            </a:pP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2400" kern="1200" spc="113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Tx/>
              <a:buFontTx/>
              <a:buNone/>
            </a:pPr>
            <a:endParaRPr lang="en-US" sz="1350" kern="12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180174" cy="482192"/>
            <a:chOff x="-2096383" y="21447"/>
            <a:chExt cx="1573565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915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91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  <p:sp>
        <p:nvSpPr>
          <p:cNvPr id="18" name="Rectangle 17"/>
          <p:cNvSpPr/>
          <p:nvPr userDrawn="1"/>
        </p:nvSpPr>
        <p:spPr>
          <a:xfrm>
            <a:off x="-9526" y="5219701"/>
            <a:ext cx="1059906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825" kern="1200" dirty="0">
                <a:solidFill>
                  <a:srgbClr val="555555"/>
                </a:solidFill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lang="en-US" sz="825" kern="1200" dirty="0">
                <a:solidFill>
                  <a:srgbClr val="A5CD28"/>
                </a:solidFill>
                <a:latin typeface="Open Sans" panose="020B0606030504020204" pitchFamily="34" charset="0"/>
                <a:ea typeface="+mn-ea"/>
                <a:cs typeface="+mn-cs"/>
                <a:hlinkClick r:id="rId4" tooltip="PresentationGo!"/>
              </a:rPr>
              <a:t>presentationgo.com</a:t>
            </a:r>
            <a:endParaRPr lang="en-US" sz="825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0620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bg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1" cy="53331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53820"/>
            <a:ext cx="8229601" cy="374080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fld id="{425404F2-BE9A-4460-8815-8F645183555F}" type="datetimeFigureOut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240">
                <a:buClrTx/>
              </a:pPr>
              <a:t>12/19/2019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4767264"/>
            <a:ext cx="2133600" cy="273844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>
              <a:buClrTx/>
            </a:pPr>
            <a:fld id="{96E69268-9C8B-4EBF-A9EE-DC5DC2D48DC3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240">
                <a:buClrTx/>
              </a:pPr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5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txStyles>
    <p:titleStyle>
      <a:lvl1pPr algn="l" defTabSz="914240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40" indent="-342840" algn="l" defTabSz="91424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j-lt"/>
          <a:ea typeface="+mn-ea"/>
          <a:cs typeface="+mn-cs"/>
        </a:defRPr>
      </a:lvl1pPr>
      <a:lvl2pPr marL="742820" indent="-285700" algn="l" defTabSz="91424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280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599920" indent="-228560" algn="l" defTabSz="91424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040" indent="-228560" algn="l" defTabSz="91424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16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0" indent="-228560" algn="l" defTabSz="914240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0" algn="l" defTabSz="914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F3F3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60656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P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F898F6-C80B-47B8-B155-24F18559159F}" type="datetimeFigureOut">
              <a:rPr lang="en-PH" smtClean="0">
                <a:solidFill>
                  <a:prstClr val="black">
                    <a:tint val="75000"/>
                  </a:prstClr>
                </a:solidFill>
                <a:ea typeface="+mn-ea"/>
              </a:rPr>
              <a:pPr/>
              <a:t>19/12/2019</a:t>
            </a:fld>
            <a:endParaRPr lang="en-PH">
              <a:solidFill>
                <a:prstClr val="black">
                  <a:tint val="75000"/>
                </a:prstClr>
              </a:solidFill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PH">
              <a:solidFill>
                <a:prstClr val="black">
                  <a:tint val="75000"/>
                </a:prstClr>
              </a:solidFill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EEDDEB-BAB2-4FEB-9C10-15D446ADB37D}" type="slidenum">
              <a:rPr lang="en-PH" smtClean="0">
                <a:solidFill>
                  <a:prstClr val="black">
                    <a:tint val="75000"/>
                  </a:prstClr>
                </a:solidFill>
                <a:ea typeface="+mn-ea"/>
              </a:rPr>
              <a:pPr/>
              <a:t>‹#›</a:t>
            </a:fld>
            <a:endParaRPr lang="en-PH">
              <a:solidFill>
                <a:prstClr val="black">
                  <a:tint val="75000"/>
                </a:prstClr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7621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374499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3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251675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69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fif"/><Relationship Id="rId3" Type="http://schemas.openxmlformats.org/officeDocument/2006/relationships/image" Target="../media/image18.png"/><Relationship Id="rId7" Type="http://schemas.openxmlformats.org/officeDocument/2006/relationships/image" Target="../media/image22.jfif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21.jfif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fi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subTitle" idx="1"/>
          </p:nvPr>
        </p:nvSpPr>
        <p:spPr>
          <a:xfrm>
            <a:off x="1799300" y="2381207"/>
            <a:ext cx="55602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b="1" smtClean="0">
                <a:solidFill>
                  <a:srgbClr val="FFFFFF"/>
                </a:solidFill>
              </a:rPr>
              <a:t>SUPPORT AND OPERATIONS</a:t>
            </a:r>
            <a:endParaRPr sz="2600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7200" dirty="0" smtClean="0"/>
              <a:t>RPA Center of </a:t>
            </a:r>
            <a:r>
              <a:rPr lang="en-US" sz="7200" dirty="0" smtClean="0"/>
              <a:t>Excellence</a:t>
            </a:r>
            <a:endParaRPr lang="en-US" sz="7200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/>
              <a:t>What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RPA </a:t>
            </a:r>
            <a:r>
              <a:rPr lang="es-ES" dirty="0" err="1" smtClean="0"/>
              <a:t>CoE</a:t>
            </a:r>
            <a:endParaRPr lang="es-ES" dirty="0" smtClean="0"/>
          </a:p>
          <a:p>
            <a:r>
              <a:rPr lang="es-ES" dirty="0" err="1" smtClean="0"/>
              <a:t>How</a:t>
            </a:r>
            <a:r>
              <a:rPr lang="es-ES" dirty="0" smtClean="0"/>
              <a:t> </a:t>
            </a:r>
            <a:r>
              <a:rPr lang="es-ES" dirty="0" err="1" smtClean="0"/>
              <a:t>the</a:t>
            </a:r>
            <a:r>
              <a:rPr lang="es-ES" dirty="0" smtClean="0"/>
              <a:t> RPA </a:t>
            </a:r>
            <a:r>
              <a:rPr lang="es-ES" dirty="0" err="1" smtClean="0"/>
              <a:t>CoE</a:t>
            </a:r>
            <a:r>
              <a:rPr lang="es-ES" dirty="0" smtClean="0"/>
              <a:t> defines </a:t>
            </a:r>
            <a:r>
              <a:rPr lang="es-ES" dirty="0" err="1" smtClean="0"/>
              <a:t>Support</a:t>
            </a:r>
            <a:r>
              <a:rPr lang="es-ES" dirty="0" smtClean="0"/>
              <a:t> and </a:t>
            </a:r>
            <a:r>
              <a:rPr lang="es-ES" dirty="0" err="1" smtClean="0"/>
              <a:t>Operation</a:t>
            </a:r>
            <a:r>
              <a:rPr lang="es-ES" dirty="0" smtClean="0"/>
              <a:t> of </a:t>
            </a:r>
            <a:r>
              <a:rPr lang="es-ES" dirty="0" err="1" smtClean="0"/>
              <a:t>the</a:t>
            </a:r>
            <a:r>
              <a:rPr lang="es-ES" dirty="0" smtClean="0"/>
              <a:t> RPA </a:t>
            </a:r>
            <a:r>
              <a:rPr lang="es-ES" dirty="0" err="1" smtClean="0"/>
              <a:t>Serv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55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572373" y="901001"/>
            <a:ext cx="8027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RPA Center of Excellence governs the RPA Program, assuring the best practices are fulfilled in every stage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1" name="Conector recto 30"/>
          <p:cNvCxnSpPr/>
          <p:nvPr/>
        </p:nvCxnSpPr>
        <p:spPr>
          <a:xfrm>
            <a:off x="3679573" y="1475402"/>
            <a:ext cx="443834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/>
          <p:cNvCxnSpPr/>
          <p:nvPr/>
        </p:nvCxnSpPr>
        <p:spPr>
          <a:xfrm>
            <a:off x="3665835" y="1436066"/>
            <a:ext cx="0" cy="302400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AutoShape 8"/>
          <p:cNvSpPr>
            <a:spLocks noChangeArrowheads="1"/>
          </p:cNvSpPr>
          <p:nvPr/>
        </p:nvSpPr>
        <p:spPr bwMode="auto">
          <a:xfrm>
            <a:off x="1026083" y="1594272"/>
            <a:ext cx="7091834" cy="464293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RPA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rogram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3" name="AutoShape 8"/>
          <p:cNvSpPr>
            <a:spLocks noChangeArrowheads="1"/>
          </p:cNvSpPr>
          <p:nvPr/>
        </p:nvSpPr>
        <p:spPr bwMode="auto">
          <a:xfrm>
            <a:off x="1605557" y="3240739"/>
            <a:ext cx="857613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sig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4" name="AutoShape 8"/>
          <p:cNvSpPr>
            <a:spLocks noChangeArrowheads="1"/>
          </p:cNvSpPr>
          <p:nvPr/>
        </p:nvSpPr>
        <p:spPr bwMode="auto">
          <a:xfrm>
            <a:off x="2463170" y="3240739"/>
            <a:ext cx="1216402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nitial Implementat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1026083" y="2096729"/>
            <a:ext cx="2653490" cy="167742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tup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6" name="AutoShape 8"/>
          <p:cNvSpPr>
            <a:spLocks noChangeArrowheads="1"/>
          </p:cNvSpPr>
          <p:nvPr/>
        </p:nvSpPr>
        <p:spPr bwMode="auto">
          <a:xfrm>
            <a:off x="3679573" y="2096729"/>
            <a:ext cx="4438344" cy="167742"/>
          </a:xfrm>
          <a:prstGeom prst="chevron">
            <a:avLst>
              <a:gd name="adj" fmla="val 13476"/>
            </a:avLst>
          </a:prstGeom>
          <a:solidFill>
            <a:srgbClr val="50D07E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Executio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7" name="AutoShape 8"/>
          <p:cNvSpPr>
            <a:spLocks noChangeArrowheads="1"/>
          </p:cNvSpPr>
          <p:nvPr/>
        </p:nvSpPr>
        <p:spPr bwMode="auto">
          <a:xfrm>
            <a:off x="3679573" y="3240739"/>
            <a:ext cx="4438344" cy="163124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Operation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upport (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mplement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f necessary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8" name="AutoShape 8"/>
          <p:cNvSpPr>
            <a:spLocks noChangeArrowheads="1"/>
          </p:cNvSpPr>
          <p:nvPr/>
        </p:nvSpPr>
        <p:spPr bwMode="auto">
          <a:xfrm>
            <a:off x="1605557" y="2940841"/>
            <a:ext cx="6512360" cy="263769"/>
          </a:xfrm>
          <a:prstGeom prst="chevron">
            <a:avLst>
              <a:gd name="adj" fmla="val 13476"/>
            </a:avLst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nfraestructure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/Securit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9" name="AutoShape 12"/>
          <p:cNvSpPr>
            <a:spLocks noChangeArrowheads="1"/>
          </p:cNvSpPr>
          <p:nvPr/>
        </p:nvSpPr>
        <p:spPr bwMode="auto">
          <a:xfrm>
            <a:off x="3679573" y="4012370"/>
            <a:ext cx="4438344" cy="263324"/>
          </a:xfrm>
          <a:prstGeom prst="chevron">
            <a:avLst>
              <a:gd name="adj" fmla="val 14471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rocess Automat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1" name="AutoShape 8"/>
          <p:cNvSpPr>
            <a:spLocks noChangeArrowheads="1"/>
          </p:cNvSpPr>
          <p:nvPr/>
        </p:nvSpPr>
        <p:spPr bwMode="auto">
          <a:xfrm>
            <a:off x="1158686" y="2712076"/>
            <a:ext cx="720000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electio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2" name="AutoShape 8"/>
          <p:cNvSpPr>
            <a:spLocks noChangeArrowheads="1"/>
          </p:cNvSpPr>
          <p:nvPr/>
        </p:nvSpPr>
        <p:spPr bwMode="auto">
          <a:xfrm>
            <a:off x="1890660" y="2712076"/>
            <a:ext cx="1788914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Training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3" name="AutoShape 8"/>
          <p:cNvSpPr>
            <a:spLocks noChangeArrowheads="1"/>
          </p:cNvSpPr>
          <p:nvPr/>
        </p:nvSpPr>
        <p:spPr bwMode="auto">
          <a:xfrm>
            <a:off x="3679573" y="2712076"/>
            <a:ext cx="4438344" cy="163124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Operation (Selection, Training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f necessary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4" name="AutoShape 8"/>
          <p:cNvSpPr>
            <a:spLocks noChangeArrowheads="1"/>
          </p:cNvSpPr>
          <p:nvPr/>
        </p:nvSpPr>
        <p:spPr bwMode="auto">
          <a:xfrm>
            <a:off x="1151727" y="2412179"/>
            <a:ext cx="6966000" cy="263769"/>
          </a:xfrm>
          <a:prstGeom prst="chevron">
            <a:avLst>
              <a:gd name="adj" fmla="val 13476"/>
            </a:avLst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eopl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cxnSp>
        <p:nvCxnSpPr>
          <p:cNvPr id="38" name="Conector recto 37"/>
          <p:cNvCxnSpPr/>
          <p:nvPr/>
        </p:nvCxnSpPr>
        <p:spPr>
          <a:xfrm>
            <a:off x="8117916" y="1434681"/>
            <a:ext cx="0" cy="302400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/>
          <p:cNvGrpSpPr/>
          <p:nvPr/>
        </p:nvGrpSpPr>
        <p:grpSpPr>
          <a:xfrm>
            <a:off x="5599362" y="1377400"/>
            <a:ext cx="533151" cy="221045"/>
            <a:chOff x="5599362" y="3771607"/>
            <a:chExt cx="533151" cy="221045"/>
          </a:xfrm>
        </p:grpSpPr>
        <p:sp>
          <p:nvSpPr>
            <p:cNvPr id="40" name="Rectángulo 39"/>
            <p:cNvSpPr/>
            <p:nvPr/>
          </p:nvSpPr>
          <p:spPr>
            <a:xfrm>
              <a:off x="5599362" y="3822998"/>
              <a:ext cx="533151" cy="588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1" name="CuadroTexto 51"/>
            <p:cNvSpPr txBox="1"/>
            <p:nvPr/>
          </p:nvSpPr>
          <p:spPr>
            <a:xfrm>
              <a:off x="5633910" y="3771607"/>
              <a:ext cx="496631" cy="221045"/>
            </a:xfrm>
            <a:prstGeom prst="rect">
              <a:avLst/>
            </a:prstGeom>
            <a:noFill/>
            <a:effectLst>
              <a:glow rad="1333500">
                <a:schemeClr val="bg1"/>
              </a:glow>
            </a:effectLst>
          </p:spPr>
          <p:txBody>
            <a:bodyPr wrap="square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s-E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Times New Roman" panose="02020603050405020304" pitchFamily="18" charset="0"/>
                  <a:cs typeface="Arial"/>
                  <a:sym typeface="Arial"/>
                </a:rPr>
                <a:t>CYCL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Arial"/>
                <a:sym typeface="Arial"/>
              </a:endParaRPr>
            </a:p>
          </p:txBody>
        </p:sp>
      </p:grpSp>
      <p:sp>
        <p:nvSpPr>
          <p:cNvPr id="29" name="AutoShape 12"/>
          <p:cNvSpPr>
            <a:spLocks noChangeArrowheads="1"/>
          </p:cNvSpPr>
          <p:nvPr/>
        </p:nvSpPr>
        <p:spPr bwMode="auto">
          <a:xfrm>
            <a:off x="3678413" y="3480730"/>
            <a:ext cx="4438344" cy="263324"/>
          </a:xfrm>
          <a:prstGeom prst="chevron">
            <a:avLst>
              <a:gd name="adj" fmla="val 14471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CoE Governance Continuous</a:t>
            </a:r>
            <a:r>
              <a:rPr kumimoji="0" lang="es-E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mprove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0" name="AutoShape 8"/>
          <p:cNvSpPr>
            <a:spLocks noChangeArrowheads="1"/>
          </p:cNvSpPr>
          <p:nvPr/>
        </p:nvSpPr>
        <p:spPr bwMode="auto">
          <a:xfrm>
            <a:off x="5049773" y="4310562"/>
            <a:ext cx="1071906" cy="163123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sig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5" name="AutoShape 8"/>
          <p:cNvSpPr>
            <a:spLocks noChangeArrowheads="1"/>
          </p:cNvSpPr>
          <p:nvPr/>
        </p:nvSpPr>
        <p:spPr bwMode="auto">
          <a:xfrm>
            <a:off x="7053771" y="4310562"/>
            <a:ext cx="1059613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Operatio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6" name="AutoShape 8"/>
          <p:cNvSpPr>
            <a:spLocks noChangeArrowheads="1"/>
          </p:cNvSpPr>
          <p:nvPr/>
        </p:nvSpPr>
        <p:spPr bwMode="auto">
          <a:xfrm>
            <a:off x="4254860" y="4310562"/>
            <a:ext cx="799280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iscover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7" name="AutoShape 8"/>
          <p:cNvSpPr>
            <a:spLocks noChangeArrowheads="1"/>
          </p:cNvSpPr>
          <p:nvPr/>
        </p:nvSpPr>
        <p:spPr bwMode="auto">
          <a:xfrm>
            <a:off x="6121679" y="4310562"/>
            <a:ext cx="932091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evelop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3685384" y="4310562"/>
            <a:ext cx="570915" cy="163124"/>
          </a:xfrm>
          <a:prstGeom prst="chevron">
            <a:avLst>
              <a:gd name="adj" fmla="val 13476"/>
            </a:avLst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deat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14" name="Título 13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CoE </a:t>
            </a:r>
            <a:r>
              <a:rPr lang="en-US" b="1" dirty="0" smtClean="0"/>
              <a:t>Scope: </a:t>
            </a:r>
            <a:r>
              <a:rPr lang="en-US" dirty="0" smtClean="0"/>
              <a:t>Program Phases</a:t>
            </a:r>
            <a:endParaRPr lang="en-US" dirty="0"/>
          </a:p>
        </p:txBody>
      </p:sp>
      <p:sp>
        <p:nvSpPr>
          <p:cNvPr id="62" name="AutoShape 8"/>
          <p:cNvSpPr>
            <a:spLocks noChangeArrowheads="1"/>
          </p:cNvSpPr>
          <p:nvPr/>
        </p:nvSpPr>
        <p:spPr bwMode="auto">
          <a:xfrm>
            <a:off x="4790928" y="3771932"/>
            <a:ext cx="1102136" cy="163123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Do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63" name="AutoShape 8"/>
          <p:cNvSpPr>
            <a:spLocks noChangeArrowheads="1"/>
          </p:cNvSpPr>
          <p:nvPr/>
        </p:nvSpPr>
        <p:spPr bwMode="auto">
          <a:xfrm>
            <a:off x="6996170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c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64" name="AutoShape 8"/>
          <p:cNvSpPr>
            <a:spLocks noChangeArrowheads="1"/>
          </p:cNvSpPr>
          <p:nvPr/>
        </p:nvSpPr>
        <p:spPr bwMode="auto">
          <a:xfrm>
            <a:off x="3688306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la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65" name="AutoShape 8"/>
          <p:cNvSpPr>
            <a:spLocks noChangeArrowheads="1"/>
          </p:cNvSpPr>
          <p:nvPr/>
        </p:nvSpPr>
        <p:spPr bwMode="auto">
          <a:xfrm>
            <a:off x="5893550" y="3771932"/>
            <a:ext cx="1102136" cy="163124"/>
          </a:xfrm>
          <a:prstGeom prst="chevron">
            <a:avLst>
              <a:gd name="adj" fmla="val 13476"/>
            </a:avLst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Check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551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7" grpId="0" animBg="1"/>
      <p:bldP spid="48" grpId="0" animBg="1"/>
      <p:bldP spid="49" grpId="0" animBg="1"/>
      <p:bldP spid="51" grpId="0" animBg="1"/>
      <p:bldP spid="52" grpId="0" animBg="1"/>
      <p:bldP spid="53" grpId="0" animBg="1"/>
      <p:bldP spid="54" grpId="0" animBg="1"/>
      <p:bldP spid="29" grpId="0" animBg="1"/>
      <p:bldP spid="50" grpId="0" animBg="1"/>
      <p:bldP spid="55" grpId="0" animBg="1"/>
      <p:bldP spid="56" grpId="0" animBg="1"/>
      <p:bldP spid="57" grpId="0" animBg="1"/>
      <p:bldP spid="59" grpId="0" animBg="1"/>
      <p:bldP spid="62" grpId="0" animBg="1"/>
      <p:bldP spid="63" grpId="0" animBg="1"/>
      <p:bldP spid="64" grpId="0" animBg="1"/>
      <p:bldP spid="6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656133" y="1500733"/>
            <a:ext cx="8083018" cy="2847902"/>
          </a:xfrm>
          <a:prstGeom prst="roundRect">
            <a:avLst/>
          </a:prstGeom>
          <a:solidFill>
            <a:srgbClr val="50D07E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572373" y="901001"/>
            <a:ext cx="8027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 RPA Center of Excellence is defined in a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et of guideline documents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each with a defined and specific scope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Título 13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CoE </a:t>
            </a:r>
            <a:r>
              <a:rPr lang="en-US" b="1" dirty="0" smtClean="0"/>
              <a:t>Scope: </a:t>
            </a:r>
            <a:r>
              <a:rPr lang="en-US" dirty="0" smtClean="0"/>
              <a:t>Documentation</a:t>
            </a:r>
            <a:endParaRPr lang="en-US" dirty="0"/>
          </a:p>
        </p:txBody>
      </p:sp>
      <p:sp>
        <p:nvSpPr>
          <p:cNvPr id="73" name="AutoShape 12"/>
          <p:cNvSpPr>
            <a:spLocks noChangeArrowheads="1"/>
          </p:cNvSpPr>
          <p:nvPr/>
        </p:nvSpPr>
        <p:spPr bwMode="auto">
          <a:xfrm>
            <a:off x="830866" y="1998319"/>
            <a:ext cx="1041351" cy="2128165"/>
          </a:xfrm>
          <a:prstGeom prst="roundRect">
            <a:avLst/>
          </a:prstGeom>
          <a:solidFill>
            <a:srgbClr val="0E6392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3218299" y="1729688"/>
            <a:ext cx="23711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1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overnance</a:t>
            </a:r>
            <a:r>
              <a:rPr kumimoji="0" lang="es-ES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s-ES" sz="11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odel</a:t>
            </a:r>
            <a:r>
              <a:rPr kumimoji="0" lang="es-ES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– RPA CoE.ppt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892332" y="3700620"/>
            <a:ext cx="93006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inuous</a:t>
            </a:r>
            <a:endParaRPr kumimoji="0" lang="es-E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rovement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4" name="Rectángulo redondeado 73"/>
          <p:cNvSpPr/>
          <p:nvPr/>
        </p:nvSpPr>
        <p:spPr>
          <a:xfrm>
            <a:off x="7238322" y="4470236"/>
            <a:ext cx="747068" cy="37179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9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ocument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5" name="Rectángulo redondeado 74"/>
          <p:cNvSpPr/>
          <p:nvPr/>
        </p:nvSpPr>
        <p:spPr>
          <a:xfrm>
            <a:off x="6316617" y="4465224"/>
            <a:ext cx="841530" cy="40851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cop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AutoShape 12"/>
          <p:cNvSpPr>
            <a:spLocks noChangeArrowheads="1"/>
          </p:cNvSpPr>
          <p:nvPr/>
        </p:nvSpPr>
        <p:spPr bwMode="auto">
          <a:xfrm>
            <a:off x="3849903" y="1998319"/>
            <a:ext cx="4722665" cy="2133931"/>
          </a:xfrm>
          <a:prstGeom prst="roundRect">
            <a:avLst/>
          </a:prstGeom>
          <a:solidFill>
            <a:srgbClr val="1A3B47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72" name="AutoShape 8"/>
          <p:cNvSpPr>
            <a:spLocks noChangeArrowheads="1"/>
          </p:cNvSpPr>
          <p:nvPr/>
        </p:nvSpPr>
        <p:spPr bwMode="auto">
          <a:xfrm>
            <a:off x="1942083" y="1998319"/>
            <a:ext cx="1855346" cy="2128165"/>
          </a:xfrm>
          <a:prstGeom prst="roundRect">
            <a:avLst/>
          </a:prstGeom>
          <a:solidFill>
            <a:srgbClr val="639FCB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928359" y="2375489"/>
            <a:ext cx="7517624" cy="570135"/>
          </a:xfrm>
          <a:prstGeom prst="roundRect">
            <a:avLst/>
          </a:prstGeom>
          <a:solidFill>
            <a:srgbClr val="97BFDD"/>
          </a:solidFill>
          <a:ln w="254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</p:txBody>
      </p:sp>
      <p:sp>
        <p:nvSpPr>
          <p:cNvPr id="77" name="Rectángulo 76"/>
          <p:cNvSpPr/>
          <p:nvPr/>
        </p:nvSpPr>
        <p:spPr>
          <a:xfrm>
            <a:off x="899024" y="2698375"/>
            <a:ext cx="6254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eople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8" name="Rectángulo redondeado 67"/>
          <p:cNvSpPr/>
          <p:nvPr/>
        </p:nvSpPr>
        <p:spPr>
          <a:xfrm>
            <a:off x="2874259" y="2383032"/>
            <a:ext cx="771170" cy="1465832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ecurity &amp; Audit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overnance 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Rectángulo redondeado 59"/>
          <p:cNvSpPr/>
          <p:nvPr/>
        </p:nvSpPr>
        <p:spPr>
          <a:xfrm>
            <a:off x="4044524" y="2382470"/>
            <a:ext cx="615475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itial Business Case and Process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election 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1" name="Rectángulo redondeado 60"/>
          <p:cNvSpPr/>
          <p:nvPr/>
        </p:nvSpPr>
        <p:spPr>
          <a:xfrm>
            <a:off x="4704837" y="2382470"/>
            <a:ext cx="739430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mand Management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6" name="Rectángulo redondeado 65"/>
          <p:cNvSpPr/>
          <p:nvPr/>
        </p:nvSpPr>
        <p:spPr>
          <a:xfrm>
            <a:off x="5482210" y="2382470"/>
            <a:ext cx="601723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rocess Definition &amp; Business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se 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7" name="Rectángulo redondeado 66"/>
          <p:cNvSpPr/>
          <p:nvPr/>
        </p:nvSpPr>
        <p:spPr>
          <a:xfrm>
            <a:off x="2055752" y="2383032"/>
            <a:ext cx="766033" cy="1465832"/>
          </a:xfrm>
          <a:prstGeom prst="round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frastructure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anagement 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9" name="Rectángulo redondeado 68"/>
          <p:cNvSpPr/>
          <p:nvPr/>
        </p:nvSpPr>
        <p:spPr>
          <a:xfrm>
            <a:off x="6121876" y="2382470"/>
            <a:ext cx="772152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velopment and Delivery Best Practi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0" name="Rectángulo redondeado 69"/>
          <p:cNvSpPr/>
          <p:nvPr/>
        </p:nvSpPr>
        <p:spPr>
          <a:xfrm>
            <a:off x="6925203" y="2382470"/>
            <a:ext cx="646434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upport &amp; Oper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1" name="Rectángulo redondeado 70"/>
          <p:cNvSpPr/>
          <p:nvPr/>
        </p:nvSpPr>
        <p:spPr>
          <a:xfrm>
            <a:off x="7602812" y="2382470"/>
            <a:ext cx="647952" cy="1080000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Benefits Real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Guidelin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.doc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8" name="Rectángulo 77"/>
          <p:cNvSpPr/>
          <p:nvPr/>
        </p:nvSpPr>
        <p:spPr>
          <a:xfrm>
            <a:off x="2005848" y="3863805"/>
            <a:ext cx="149271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Infrastructure/Security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9" name="Rectángulo 78"/>
          <p:cNvSpPr/>
          <p:nvPr/>
        </p:nvSpPr>
        <p:spPr>
          <a:xfrm>
            <a:off x="3974100" y="3848864"/>
            <a:ext cx="1332416" cy="415498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Process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uto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0" name="CuadroTexto 79"/>
          <p:cNvSpPr txBox="1"/>
          <p:nvPr/>
        </p:nvSpPr>
        <p:spPr>
          <a:xfrm>
            <a:off x="3764331" y="1505164"/>
            <a:ext cx="12907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PA </a:t>
            </a:r>
            <a:r>
              <a:rPr kumimoji="0" lang="es-E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gram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1" name="Rectángulo redondeado 80"/>
          <p:cNvSpPr/>
          <p:nvPr/>
        </p:nvSpPr>
        <p:spPr>
          <a:xfrm>
            <a:off x="654973" y="1499573"/>
            <a:ext cx="8083018" cy="2847902"/>
          </a:xfrm>
          <a:prstGeom prst="round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2" name="Rectángulo redondeado 81"/>
          <p:cNvSpPr/>
          <p:nvPr/>
        </p:nvSpPr>
        <p:spPr>
          <a:xfrm>
            <a:off x="5482210" y="3497351"/>
            <a:ext cx="2768554" cy="494075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ools &amp; Training </a:t>
            </a:r>
            <a:r>
              <a:rPr kumimoji="0" lang="es-ES" sz="9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resentations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7132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8" grpId="0" animBg="1"/>
      <p:bldP spid="60" grpId="0" animBg="1"/>
      <p:bldP spid="61" grpId="0" animBg="1"/>
      <p:bldP spid="66" grpId="0" animBg="1"/>
      <p:bldP spid="67" grpId="0" animBg="1"/>
      <p:bldP spid="69" grpId="0" animBg="1"/>
      <p:bldP spid="70" grpId="0" animBg="1"/>
      <p:bldP spid="71" grpId="0" animBg="1"/>
      <p:bldP spid="81" grpId="0" animBg="1"/>
      <p:bldP spid="8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DejaVu Sans"/>
                <a:cs typeface="+mn-cs"/>
                <a:sym typeface="Arial"/>
              </a:rPr>
              <a:t>Structure and Organizational Model</a:t>
            </a:r>
            <a:endParaRPr kumimoji="0" lang="es-ES" sz="1400" b="0" i="0" u="none" strike="noStrike" kern="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595959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Sco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o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595959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esponsibilities</a:t>
            </a:r>
          </a:p>
        </p:txBody>
      </p:sp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  <a:cs typeface="+mn-cs"/>
                <a:sym typeface="Arial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891570"/>
            <a:ext cx="5203080" cy="21544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Operational model</a:t>
            </a:r>
            <a:endParaRPr kumimoji="0" lang="en-US" sz="1400" b="0" i="1" u="none" strike="noStrike" kern="0" cap="none" spc="-1" normalizeH="0" baseline="0" noProof="0" dirty="0">
              <a:ln>
                <a:noFill/>
              </a:ln>
              <a:solidFill>
                <a:srgbClr val="003245"/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3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1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2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580224" y="2435780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4" name="Google Shape;60;p14"/>
          <p:cNvSpPr txBox="1">
            <a:spLocks/>
          </p:cNvSpPr>
          <p:nvPr/>
        </p:nvSpPr>
        <p:spPr>
          <a:xfrm>
            <a:off x="311700" y="379712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97A7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dex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97A7">
                  <a:lumMod val="5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7824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7" name="Elbow Connector 53"/>
          <p:cNvCxnSpPr>
            <a:stCxn id="72" idx="2"/>
            <a:endCxn id="73" idx="0"/>
          </p:cNvCxnSpPr>
          <p:nvPr/>
        </p:nvCxnSpPr>
        <p:spPr>
          <a:xfrm rot="16200000" flipH="1">
            <a:off x="2528891" y="3012461"/>
            <a:ext cx="142751" cy="808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1"/>
          <p:cNvSpPr/>
          <p:nvPr/>
        </p:nvSpPr>
        <p:spPr>
          <a:xfrm>
            <a:off x="1450327" y="1791076"/>
            <a:ext cx="1078240" cy="41499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Head of Function</a:t>
            </a:r>
          </a:p>
        </p:txBody>
      </p:sp>
      <p:sp>
        <p:nvSpPr>
          <p:cNvPr id="63" name="Rectangle 3"/>
          <p:cNvSpPr/>
          <p:nvPr/>
        </p:nvSpPr>
        <p:spPr>
          <a:xfrm>
            <a:off x="181540" y="2681177"/>
            <a:ext cx="854072" cy="35374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Evangelist</a:t>
            </a:r>
          </a:p>
        </p:txBody>
      </p:sp>
      <p:cxnSp>
        <p:nvCxnSpPr>
          <p:cNvPr id="64" name="Elbow Connector 5"/>
          <p:cNvCxnSpPr>
            <a:stCxn id="62" idx="2"/>
            <a:endCxn id="63" idx="0"/>
          </p:cNvCxnSpPr>
          <p:nvPr/>
        </p:nvCxnSpPr>
        <p:spPr>
          <a:xfrm rot="5400000">
            <a:off x="1178904" y="1848554"/>
            <a:ext cx="304760" cy="1360487"/>
          </a:xfrm>
          <a:prstGeom prst="bentConnector3">
            <a:avLst/>
          </a:prstGeom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18"/>
          <p:cNvSpPr/>
          <p:nvPr/>
        </p:nvSpPr>
        <p:spPr>
          <a:xfrm>
            <a:off x="1162766" y="2688043"/>
            <a:ext cx="835014" cy="308991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cess Owner (s)</a:t>
            </a:r>
          </a:p>
        </p:txBody>
      </p:sp>
      <p:sp>
        <p:nvSpPr>
          <p:cNvPr id="70" name="Rectangle 40"/>
          <p:cNvSpPr/>
          <p:nvPr/>
        </p:nvSpPr>
        <p:spPr>
          <a:xfrm>
            <a:off x="1084077" y="3103040"/>
            <a:ext cx="996485" cy="29366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Business Process SME (s)</a:t>
            </a:r>
          </a:p>
        </p:txBody>
      </p:sp>
      <p:cxnSp>
        <p:nvCxnSpPr>
          <p:cNvPr id="71" name="Elbow Connector 39"/>
          <p:cNvCxnSpPr>
            <a:stCxn id="67" idx="2"/>
            <a:endCxn id="70" idx="0"/>
          </p:cNvCxnSpPr>
          <p:nvPr/>
        </p:nvCxnSpPr>
        <p:spPr>
          <a:xfrm>
            <a:off x="1580273" y="2997034"/>
            <a:ext cx="2047" cy="106006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46"/>
          <p:cNvSpPr/>
          <p:nvPr/>
        </p:nvSpPr>
        <p:spPr>
          <a:xfrm>
            <a:off x="2239183" y="2691108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duct Owner</a:t>
            </a:r>
          </a:p>
        </p:txBody>
      </p:sp>
      <p:sp>
        <p:nvSpPr>
          <p:cNvPr id="73" name="Rectangle 47"/>
          <p:cNvSpPr/>
          <p:nvPr/>
        </p:nvSpPr>
        <p:spPr>
          <a:xfrm>
            <a:off x="2239991" y="3084240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cess Analyst</a:t>
            </a:r>
          </a:p>
        </p:txBody>
      </p:sp>
      <p:sp>
        <p:nvSpPr>
          <p:cNvPr id="74" name="Rectangle 49"/>
          <p:cNvSpPr/>
          <p:nvPr/>
        </p:nvSpPr>
        <p:spPr>
          <a:xfrm>
            <a:off x="2990855" y="309144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Lead Developer</a:t>
            </a:r>
          </a:p>
        </p:txBody>
      </p:sp>
      <p:sp>
        <p:nvSpPr>
          <p:cNvPr id="75" name="Rectangle 50"/>
          <p:cNvSpPr/>
          <p:nvPr/>
        </p:nvSpPr>
        <p:spPr>
          <a:xfrm>
            <a:off x="2396991" y="3591968"/>
            <a:ext cx="787532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eveloper</a:t>
            </a:r>
          </a:p>
        </p:txBody>
      </p:sp>
      <p:sp>
        <p:nvSpPr>
          <p:cNvPr id="76" name="Rectangle 52"/>
          <p:cNvSpPr/>
          <p:nvPr/>
        </p:nvSpPr>
        <p:spPr>
          <a:xfrm>
            <a:off x="3251861" y="359016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Tester</a:t>
            </a:r>
          </a:p>
        </p:txBody>
      </p:sp>
      <p:cxnSp>
        <p:nvCxnSpPr>
          <p:cNvPr id="78" name="Elbow Connector 54"/>
          <p:cNvCxnSpPr>
            <a:stCxn id="81" idx="2"/>
            <a:endCxn id="74" idx="0"/>
          </p:cNvCxnSpPr>
          <p:nvPr/>
        </p:nvCxnSpPr>
        <p:spPr>
          <a:xfrm rot="16200000" flipH="1">
            <a:off x="3272183" y="3012087"/>
            <a:ext cx="156878" cy="1828"/>
          </a:xfrm>
          <a:prstGeom prst="bentConnector3">
            <a:avLst>
              <a:gd name="adj1" fmla="val 50000"/>
            </a:avLst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55"/>
          <p:cNvCxnSpPr>
            <a:stCxn id="74" idx="2"/>
            <a:endCxn id="75" idx="0"/>
          </p:cNvCxnSpPr>
          <p:nvPr/>
        </p:nvCxnSpPr>
        <p:spPr>
          <a:xfrm rot="5400000">
            <a:off x="2963327" y="3236380"/>
            <a:ext cx="183019" cy="528157"/>
          </a:xfrm>
          <a:prstGeom prst="bentConnector3">
            <a:avLst/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56"/>
          <p:cNvCxnSpPr>
            <a:stCxn id="74" idx="2"/>
            <a:endCxn id="76" idx="0"/>
          </p:cNvCxnSpPr>
          <p:nvPr/>
        </p:nvCxnSpPr>
        <p:spPr>
          <a:xfrm rot="16200000" flipH="1">
            <a:off x="3358811" y="3369052"/>
            <a:ext cx="181212" cy="261006"/>
          </a:xfrm>
          <a:prstGeom prst="bentConnector3">
            <a:avLst>
              <a:gd name="adj1" fmla="val 50000"/>
            </a:avLst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57"/>
          <p:cNvSpPr/>
          <p:nvPr/>
        </p:nvSpPr>
        <p:spPr>
          <a:xfrm>
            <a:off x="2989028" y="2684181"/>
            <a:ext cx="656117" cy="317508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8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crum Master</a:t>
            </a:r>
          </a:p>
        </p:txBody>
      </p:sp>
      <p:cxnSp>
        <p:nvCxnSpPr>
          <p:cNvPr id="82" name="Elbow Connector 59"/>
          <p:cNvCxnSpPr>
            <a:stCxn id="62" idx="2"/>
            <a:endCxn id="81" idx="0"/>
          </p:cNvCxnSpPr>
          <p:nvPr/>
        </p:nvCxnSpPr>
        <p:spPr>
          <a:xfrm rot="16200000" flipH="1">
            <a:off x="2414214" y="1781307"/>
            <a:ext cx="478107" cy="1327640"/>
          </a:xfrm>
          <a:prstGeom prst="bentConnector3">
            <a:avLst/>
          </a:prstGeom>
          <a:ln w="50800">
            <a:solidFill>
              <a:srgbClr val="50D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20"/>
          <p:cNvCxnSpPr>
            <a:stCxn id="62" idx="2"/>
            <a:endCxn id="67" idx="0"/>
          </p:cNvCxnSpPr>
          <p:nvPr/>
        </p:nvCxnSpPr>
        <p:spPr>
          <a:xfrm rot="5400000">
            <a:off x="1543876" y="2242471"/>
            <a:ext cx="481969" cy="409174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adroTexto 90"/>
          <p:cNvSpPr txBox="1"/>
          <p:nvPr/>
        </p:nvSpPr>
        <p:spPr>
          <a:xfrm>
            <a:off x="1340111" y="1346295"/>
            <a:ext cx="1271502" cy="30008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s-E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E</a:t>
            </a:r>
            <a:r>
              <a:rPr kumimoji="0" lang="es-ES" sz="135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Business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2" name="CuadroTexto 91"/>
          <p:cNvSpPr txBox="1"/>
          <p:nvPr/>
        </p:nvSpPr>
        <p:spPr>
          <a:xfrm>
            <a:off x="5818766" y="1346295"/>
            <a:ext cx="129073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s-E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E</a:t>
            </a:r>
            <a:r>
              <a:rPr kumimoji="0" lang="es-ES" sz="135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Core/ISG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69" name="Elbow Connector 45"/>
          <p:cNvCxnSpPr>
            <a:stCxn id="62" idx="2"/>
            <a:endCxn id="72" idx="0"/>
          </p:cNvCxnSpPr>
          <p:nvPr/>
        </p:nvCxnSpPr>
        <p:spPr>
          <a:xfrm rot="16200000" flipH="1">
            <a:off x="2035827" y="2159693"/>
            <a:ext cx="485034" cy="5777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"/>
          <p:cNvSpPr/>
          <p:nvPr/>
        </p:nvSpPr>
        <p:spPr>
          <a:xfrm>
            <a:off x="5962420" y="1791076"/>
            <a:ext cx="1156712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Head of RPA</a:t>
            </a:r>
          </a:p>
        </p:txBody>
      </p:sp>
      <p:sp>
        <p:nvSpPr>
          <p:cNvPr id="61" name="Rectangle 2"/>
          <p:cNvSpPr/>
          <p:nvPr/>
        </p:nvSpPr>
        <p:spPr>
          <a:xfrm>
            <a:off x="5615261" y="2310541"/>
            <a:ext cx="1238960" cy="187261"/>
          </a:xfrm>
          <a:prstGeom prst="rect">
            <a:avLst/>
          </a:prstGeom>
          <a:solidFill>
            <a:srgbClr val="3675A4"/>
          </a:solidFill>
          <a:ln>
            <a:solidFill>
              <a:srgbClr val="067D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elivery Manager</a:t>
            </a:r>
          </a:p>
        </p:txBody>
      </p:sp>
      <p:cxnSp>
        <p:nvCxnSpPr>
          <p:cNvPr id="83" name="Elbow Connector 5"/>
          <p:cNvCxnSpPr>
            <a:stCxn id="109" idx="0"/>
            <a:endCxn id="87" idx="2"/>
          </p:cNvCxnSpPr>
          <p:nvPr/>
        </p:nvCxnSpPr>
        <p:spPr>
          <a:xfrm rot="16200000" flipV="1">
            <a:off x="5287370" y="2709435"/>
            <a:ext cx="146763" cy="79504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6"/>
          <p:cNvSpPr/>
          <p:nvPr/>
        </p:nvSpPr>
        <p:spPr>
          <a:xfrm>
            <a:off x="6288970" y="317227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L1</a:t>
            </a:r>
          </a:p>
        </p:txBody>
      </p:sp>
      <p:cxnSp>
        <p:nvCxnSpPr>
          <p:cNvPr id="85" name="Elbow Connector 8"/>
          <p:cNvCxnSpPr>
            <a:stCxn id="100" idx="2"/>
            <a:endCxn id="84" idx="0"/>
          </p:cNvCxnSpPr>
          <p:nvPr/>
        </p:nvCxnSpPr>
        <p:spPr>
          <a:xfrm rot="5400000">
            <a:off x="6721379" y="2781292"/>
            <a:ext cx="187260" cy="594699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11"/>
          <p:cNvSpPr/>
          <p:nvPr/>
        </p:nvSpPr>
        <p:spPr>
          <a:xfrm>
            <a:off x="7465286" y="3180337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Infra Squad Ops</a:t>
            </a:r>
          </a:p>
        </p:txBody>
      </p:sp>
      <p:sp>
        <p:nvSpPr>
          <p:cNvPr id="87" name="Rectangle 21"/>
          <p:cNvSpPr/>
          <p:nvPr/>
        </p:nvSpPr>
        <p:spPr>
          <a:xfrm>
            <a:off x="4641506" y="2717653"/>
            <a:ext cx="643448" cy="315921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olution Designer</a:t>
            </a:r>
          </a:p>
        </p:txBody>
      </p:sp>
      <p:sp>
        <p:nvSpPr>
          <p:cNvPr id="88" name="Rectangle 22"/>
          <p:cNvSpPr/>
          <p:nvPr/>
        </p:nvSpPr>
        <p:spPr>
          <a:xfrm>
            <a:off x="4098792" y="3171166"/>
            <a:ext cx="505761" cy="26127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rocess Analyst</a:t>
            </a:r>
          </a:p>
        </p:txBody>
      </p:sp>
      <p:sp>
        <p:nvSpPr>
          <p:cNvPr id="90" name="Rectangle 23"/>
          <p:cNvSpPr/>
          <p:nvPr/>
        </p:nvSpPr>
        <p:spPr>
          <a:xfrm>
            <a:off x="4621224" y="3642006"/>
            <a:ext cx="679311" cy="352144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Lead Developer</a:t>
            </a:r>
          </a:p>
        </p:txBody>
      </p:sp>
      <p:cxnSp>
        <p:nvCxnSpPr>
          <p:cNvPr id="93" name="Elbow Connector 26"/>
          <p:cNvCxnSpPr>
            <a:stCxn id="61" idx="2"/>
            <a:endCxn id="87" idx="0"/>
          </p:cNvCxnSpPr>
          <p:nvPr/>
        </p:nvCxnSpPr>
        <p:spPr>
          <a:xfrm rot="5400000">
            <a:off x="5468234" y="2016822"/>
            <a:ext cx="219851" cy="118181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27"/>
          <p:cNvSpPr/>
          <p:nvPr/>
        </p:nvSpPr>
        <p:spPr>
          <a:xfrm>
            <a:off x="4347399" y="4208851"/>
            <a:ext cx="655577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eveloper</a:t>
            </a:r>
          </a:p>
        </p:txBody>
      </p:sp>
      <p:sp>
        <p:nvSpPr>
          <p:cNvPr id="95" name="Rectangle 28"/>
          <p:cNvSpPr/>
          <p:nvPr/>
        </p:nvSpPr>
        <p:spPr>
          <a:xfrm>
            <a:off x="5036120" y="420885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Tester</a:t>
            </a:r>
          </a:p>
        </p:txBody>
      </p:sp>
      <p:cxnSp>
        <p:nvCxnSpPr>
          <p:cNvPr id="96" name="Elbow Connector 30"/>
          <p:cNvCxnSpPr>
            <a:stCxn id="87" idx="2"/>
            <a:endCxn id="88" idx="0"/>
          </p:cNvCxnSpPr>
          <p:nvPr/>
        </p:nvCxnSpPr>
        <p:spPr>
          <a:xfrm rot="5400000">
            <a:off x="4588656" y="2796592"/>
            <a:ext cx="137592" cy="611557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32"/>
          <p:cNvCxnSpPr>
            <a:stCxn id="106" idx="2"/>
            <a:endCxn id="90" idx="0"/>
          </p:cNvCxnSpPr>
          <p:nvPr/>
        </p:nvCxnSpPr>
        <p:spPr>
          <a:xfrm flipH="1">
            <a:off x="4960880" y="3504414"/>
            <a:ext cx="1095" cy="137592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36"/>
          <p:cNvCxnSpPr>
            <a:stCxn id="90" idx="2"/>
            <a:endCxn id="94" idx="0"/>
          </p:cNvCxnSpPr>
          <p:nvPr/>
        </p:nvCxnSpPr>
        <p:spPr>
          <a:xfrm rot="5400000">
            <a:off x="4710684" y="3958654"/>
            <a:ext cx="214701" cy="285692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38"/>
          <p:cNvCxnSpPr>
            <a:stCxn id="90" idx="2"/>
            <a:endCxn id="95" idx="0"/>
          </p:cNvCxnSpPr>
          <p:nvPr/>
        </p:nvCxnSpPr>
        <p:spPr>
          <a:xfrm rot="16200000" flipH="1">
            <a:off x="5005495" y="3949535"/>
            <a:ext cx="214701" cy="30393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42"/>
          <p:cNvSpPr/>
          <p:nvPr/>
        </p:nvSpPr>
        <p:spPr>
          <a:xfrm>
            <a:off x="6656891" y="2720416"/>
            <a:ext cx="908934" cy="27266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SDM/ DevOps Coach</a:t>
            </a:r>
          </a:p>
        </p:txBody>
      </p:sp>
      <p:sp>
        <p:nvSpPr>
          <p:cNvPr id="101" name="Rectangle 43"/>
          <p:cNvSpPr/>
          <p:nvPr/>
        </p:nvSpPr>
        <p:spPr>
          <a:xfrm>
            <a:off x="6838101" y="3172270"/>
            <a:ext cx="591821" cy="30801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DevOps</a:t>
            </a: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Engineer</a:t>
            </a:r>
          </a:p>
        </p:txBody>
      </p:sp>
      <p:cxnSp>
        <p:nvCxnSpPr>
          <p:cNvPr id="102" name="Elbow Connector 45"/>
          <p:cNvCxnSpPr>
            <a:stCxn id="61" idx="2"/>
            <a:endCxn id="100" idx="0"/>
          </p:cNvCxnSpPr>
          <p:nvPr/>
        </p:nvCxnSpPr>
        <p:spPr>
          <a:xfrm rot="16200000" flipH="1">
            <a:off x="6529405" y="2137461"/>
            <a:ext cx="222614" cy="9432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39"/>
          <p:cNvCxnSpPr>
            <a:stCxn id="100" idx="2"/>
            <a:endCxn id="101" idx="0"/>
          </p:cNvCxnSpPr>
          <p:nvPr/>
        </p:nvCxnSpPr>
        <p:spPr>
          <a:xfrm flipH="1">
            <a:off x="7110131" y="2985011"/>
            <a:ext cx="2228" cy="18726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40"/>
          <p:cNvSpPr/>
          <p:nvPr/>
        </p:nvSpPr>
        <p:spPr>
          <a:xfrm>
            <a:off x="6731009" y="3557906"/>
            <a:ext cx="756990" cy="41078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RPA </a:t>
            </a:r>
            <a:r>
              <a:rPr kumimoji="0" lang="en-PH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Ops and Support </a:t>
            </a: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Team</a:t>
            </a:r>
          </a:p>
        </p:txBody>
      </p:sp>
      <p:cxnSp>
        <p:nvCxnSpPr>
          <p:cNvPr id="105" name="Elbow Connector 41"/>
          <p:cNvCxnSpPr>
            <a:stCxn id="101" idx="2"/>
            <a:endCxn id="104" idx="0"/>
          </p:cNvCxnSpPr>
          <p:nvPr/>
        </p:nvCxnSpPr>
        <p:spPr>
          <a:xfrm rot="5400000">
            <a:off x="7057946" y="3505721"/>
            <a:ext cx="103743" cy="627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46"/>
          <p:cNvSpPr/>
          <p:nvPr/>
        </p:nvSpPr>
        <p:spPr>
          <a:xfrm>
            <a:off x="4712301" y="3168844"/>
            <a:ext cx="499348" cy="335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Scrum Master</a:t>
            </a:r>
          </a:p>
        </p:txBody>
      </p:sp>
      <p:cxnSp>
        <p:nvCxnSpPr>
          <p:cNvPr id="107" name="Elbow Connector 49"/>
          <p:cNvCxnSpPr>
            <a:stCxn id="87" idx="2"/>
            <a:endCxn id="106" idx="0"/>
          </p:cNvCxnSpPr>
          <p:nvPr/>
        </p:nvCxnSpPr>
        <p:spPr>
          <a:xfrm flipH="1">
            <a:off x="4961975" y="3033574"/>
            <a:ext cx="1255" cy="13527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37"/>
          <p:cNvSpPr/>
          <p:nvPr/>
        </p:nvSpPr>
        <p:spPr>
          <a:xfrm>
            <a:off x="7645652" y="2312805"/>
            <a:ext cx="1350029" cy="184996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latform Manager</a:t>
            </a:r>
          </a:p>
        </p:txBody>
      </p:sp>
      <p:sp>
        <p:nvSpPr>
          <p:cNvPr id="109" name="Rectangle 47"/>
          <p:cNvSpPr/>
          <p:nvPr/>
        </p:nvSpPr>
        <p:spPr>
          <a:xfrm>
            <a:off x="5319324" y="3180337"/>
            <a:ext cx="877894" cy="377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Infra Squad Implementation</a:t>
            </a:r>
          </a:p>
        </p:txBody>
      </p:sp>
      <p:cxnSp>
        <p:nvCxnSpPr>
          <p:cNvPr id="110" name="Elbow Connector 50"/>
          <p:cNvCxnSpPr>
            <a:stCxn id="86" idx="0"/>
            <a:endCxn id="100" idx="2"/>
          </p:cNvCxnSpPr>
          <p:nvPr/>
        </p:nvCxnSpPr>
        <p:spPr>
          <a:xfrm rot="16200000" flipV="1">
            <a:off x="7361452" y="2735919"/>
            <a:ext cx="195326" cy="69351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26"/>
          <p:cNvCxnSpPr>
            <a:stCxn id="60" idx="2"/>
            <a:endCxn id="61" idx="0"/>
          </p:cNvCxnSpPr>
          <p:nvPr/>
        </p:nvCxnSpPr>
        <p:spPr>
          <a:xfrm rot="5400000">
            <a:off x="6243366" y="2013131"/>
            <a:ext cx="288786" cy="30603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26"/>
          <p:cNvCxnSpPr>
            <a:stCxn id="108" idx="0"/>
            <a:endCxn id="60" idx="2"/>
          </p:cNvCxnSpPr>
          <p:nvPr/>
        </p:nvCxnSpPr>
        <p:spPr>
          <a:xfrm rot="16200000" flipV="1">
            <a:off x="7285197" y="1277334"/>
            <a:ext cx="291050" cy="177989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Imagen 1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9081" y="826780"/>
            <a:ext cx="748755" cy="806072"/>
          </a:xfrm>
          <a:prstGeom prst="rect">
            <a:avLst/>
          </a:prstGeom>
        </p:spPr>
      </p:pic>
      <p:cxnSp>
        <p:nvCxnSpPr>
          <p:cNvPr id="114" name="Conector recto 113"/>
          <p:cNvCxnSpPr/>
          <p:nvPr/>
        </p:nvCxnSpPr>
        <p:spPr>
          <a:xfrm flipH="1" flipV="1">
            <a:off x="4006201" y="1677780"/>
            <a:ext cx="7257" cy="2808000"/>
          </a:xfrm>
          <a:prstGeom prst="line">
            <a:avLst/>
          </a:prstGeom>
          <a:ln w="12700" cap="sq">
            <a:solidFill>
              <a:schemeClr val="tx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/>
          <p:cNvSpPr/>
          <p:nvPr/>
        </p:nvSpPr>
        <p:spPr>
          <a:xfrm>
            <a:off x="127802" y="4811849"/>
            <a:ext cx="310477" cy="195943"/>
          </a:xfrm>
          <a:prstGeom prst="rect">
            <a:avLst/>
          </a:prstGeom>
          <a:solidFill>
            <a:srgbClr val="50D07E"/>
          </a:solidFill>
          <a:ln>
            <a:solidFill>
              <a:srgbClr val="50D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08362" y="4795652"/>
            <a:ext cx="167219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ptional for BUs with internal development capabilit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9" name="Rectangle 2"/>
          <p:cNvSpPr/>
          <p:nvPr/>
        </p:nvSpPr>
        <p:spPr>
          <a:xfrm>
            <a:off x="4196287" y="2288284"/>
            <a:ext cx="1238960" cy="230873"/>
          </a:xfrm>
          <a:prstGeom prst="rect">
            <a:avLst/>
          </a:prstGeom>
          <a:solidFill>
            <a:srgbClr val="3675A4"/>
          </a:solidFill>
          <a:ln>
            <a:solidFill>
              <a:srgbClr val="067D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ontinuous Improvement Manager</a:t>
            </a:r>
            <a:endParaRPr kumimoji="0" lang="en-PH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65" name="Elbow Connector 26"/>
          <p:cNvCxnSpPr>
            <a:stCxn id="60" idx="2"/>
            <a:endCxn id="59" idx="0"/>
          </p:cNvCxnSpPr>
          <p:nvPr/>
        </p:nvCxnSpPr>
        <p:spPr>
          <a:xfrm rot="5400000">
            <a:off x="5545008" y="1292515"/>
            <a:ext cx="266529" cy="1725009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Elbow Connector 20"/>
          <p:cNvCxnSpPr>
            <a:stCxn id="62" idx="2"/>
            <a:endCxn id="63" idx="0"/>
          </p:cNvCxnSpPr>
          <p:nvPr/>
        </p:nvCxnSpPr>
        <p:spPr>
          <a:xfrm rot="5400000">
            <a:off x="1061461" y="1753190"/>
            <a:ext cx="475103" cy="1380871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tangle 11"/>
          <p:cNvSpPr/>
          <p:nvPr/>
        </p:nvSpPr>
        <p:spPr>
          <a:xfrm>
            <a:off x="7980082" y="2717653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PH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Platform SDM(s)</a:t>
            </a:r>
            <a:endParaRPr kumimoji="0" lang="en-PH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225" name="Elbow Connector 45"/>
          <p:cNvCxnSpPr>
            <a:stCxn id="100" idx="3"/>
            <a:endCxn id="224" idx="1"/>
          </p:cNvCxnSpPr>
          <p:nvPr/>
        </p:nvCxnSpPr>
        <p:spPr>
          <a:xfrm flipV="1">
            <a:off x="7565825" y="2854567"/>
            <a:ext cx="414257" cy="2180"/>
          </a:xfrm>
          <a:prstGeom prst="straightConnector1">
            <a:avLst/>
          </a:prstGeom>
          <a:ln w="50800">
            <a:solidFill>
              <a:srgbClr val="3675A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E </a:t>
            </a:r>
            <a:r>
              <a:rPr lang="en-US" dirty="0" smtClean="0"/>
              <a:t>Roles and Organigr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695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DejaVu Sans"/>
                <a:cs typeface="+mn-cs"/>
                <a:sym typeface="Arial"/>
              </a:rPr>
              <a:t>Structure and Organizational Model</a:t>
            </a:r>
            <a:endParaRPr kumimoji="0" lang="es-ES" sz="1400" b="0" i="0" u="none" strike="noStrike" kern="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595959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Scope</a:t>
            </a:r>
            <a:endParaRPr kumimoji="0" lang="es-ES" sz="1400" b="0" i="1" u="none" strike="noStrike" kern="0" cap="none" spc="-1" normalizeH="0" baseline="0" noProof="0" dirty="0" smtClean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o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esponsibilities</a:t>
            </a:r>
          </a:p>
        </p:txBody>
      </p:sp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  <a:cs typeface="+mn-cs"/>
                <a:sym typeface="Arial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891570"/>
            <a:ext cx="5203080" cy="21544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Operational model</a:t>
            </a:r>
            <a:endParaRPr kumimoji="0" lang="en-US" sz="1400" b="0" i="1" u="none" strike="noStrike" kern="0" cap="none" spc="-1" normalizeH="0" baseline="0" noProof="0" dirty="0">
              <a:ln>
                <a:noFill/>
              </a:ln>
              <a:solidFill>
                <a:srgbClr val="003245"/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3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1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2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580224" y="2435780"/>
            <a:ext cx="7691014" cy="2254827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4" name="Google Shape;60;p14"/>
          <p:cNvSpPr txBox="1">
            <a:spLocks/>
          </p:cNvSpPr>
          <p:nvPr/>
        </p:nvSpPr>
        <p:spPr>
          <a:xfrm>
            <a:off x="311700" y="379712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97A7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dex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97A7">
                  <a:lumMod val="5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666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81911"/>
            <a:ext cx="568970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eads strategic direction of RPA Centre of Expertise and champions governance mode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es oversight to operational deploy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cilitates the execution of program activities and tracks benefit throughou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25934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1145957" y="1223970"/>
              <a:ext cx="153251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Head of RPA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47165" y="2524314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y management for licenses and infra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259646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1028735" y="1226028"/>
              <a:ext cx="1916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Platform Manager</a:t>
              </a:r>
            </a:p>
          </p:txBody>
        </p:sp>
      </p:grpSp>
      <p:sp>
        <p:nvSpPr>
          <p:cNvPr id="47" name="Rectángulo 46"/>
          <p:cNvSpPr/>
          <p:nvPr/>
        </p:nvSpPr>
        <p:spPr>
          <a:xfrm>
            <a:off x="3147165" y="3696324"/>
            <a:ext cx="56897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Package to be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liver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gainst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irement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d Current Environment Configuration</a:t>
            </a:r>
          </a:p>
        </p:txBody>
      </p:sp>
      <p:grpSp>
        <p:nvGrpSpPr>
          <p:cNvPr id="37" name="Grupo 36"/>
          <p:cNvGrpSpPr/>
          <p:nvPr/>
        </p:nvGrpSpPr>
        <p:grpSpPr>
          <a:xfrm>
            <a:off x="6" y="3493358"/>
            <a:ext cx="3067352" cy="914337"/>
            <a:chOff x="795736" y="942937"/>
            <a:chExt cx="3067352" cy="914337"/>
          </a:xfrm>
        </p:grpSpPr>
        <p:grpSp>
          <p:nvGrpSpPr>
            <p:cNvPr id="38" name="Grupo 37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40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41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45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6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42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43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4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39" name="CuadroTexto 38"/>
            <p:cNvSpPr txBox="1"/>
            <p:nvPr/>
          </p:nvSpPr>
          <p:spPr>
            <a:xfrm>
              <a:off x="1028735" y="1226028"/>
              <a:ext cx="1916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Platform SDM (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47531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5" grpId="0"/>
      <p:bldP spid="4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est Accesses and Credentials for all systems for DEV, TEST and PROD environ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ests Infra Components for TEST &amp;PR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y Management of Development Squa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est Accesses and Credentials for all systems for DEV, TEST and PROD environ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ests Infra Components for TEST &amp;PR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y Managemen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875566" y="122397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olutions Designer (s)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886320"/>
            <a:ext cx="568970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ing channel for reception of improvement propos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ing channel for reception of any problem that affects the efficiency of the Co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ioritizes Current Issues with CoE Govern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motes and Leads Work Meetings with stakeholders in the most urgent issu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sponsible for guaranteeing stakeholders create plans to tackle Issues with CoE governance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886320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126156"/>
              <a:ext cx="220628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Continuous Improvement Mana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6378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andle Reques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reate Tick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spatch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915484" y="123128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L1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414605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andle Request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3" y="2155838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256782"/>
              <a:ext cx="22062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L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15683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974933"/>
            <a:ext cx="568970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ypercare Ph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ollow Operations Manu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tect Incid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andle Reques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roubleshoot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lassification of incid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Package to be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liver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gainst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irement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d Current Environment Configu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vides Requirements for Infra Squa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lidate current configuration/Configure RPA Layer in Environment to Receive Deploy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view Package to be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liver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gainst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quirement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d Current Environment Configu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lease Package in Production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854441" y="1122423"/>
              <a:ext cx="21083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RPA Operations and Support </a:t>
              </a: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eam (L2)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0311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rgbClr val="003692"/>
            </a:gs>
            <a:gs pos="51000">
              <a:srgbClr val="006FB9"/>
            </a:gs>
            <a:gs pos="100000">
              <a:srgbClr val="0051A5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982803-9E9D-4E88-B89D-AE846D8FB630}"/>
              </a:ext>
            </a:extLst>
          </p:cNvPr>
          <p:cNvSpPr/>
          <p:nvPr/>
        </p:nvSpPr>
        <p:spPr>
          <a:xfrm flipV="1">
            <a:off x="8682" y="3028951"/>
            <a:ext cx="9549323" cy="34289"/>
          </a:xfrm>
          <a:prstGeom prst="rect">
            <a:avLst/>
          </a:prstGeom>
          <a:gradFill>
            <a:gsLst>
              <a:gs pos="3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0">
              <a:buClrTx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E16148-AD47-4697-8565-75E344F1B208}"/>
              </a:ext>
            </a:extLst>
          </p:cNvPr>
          <p:cNvSpPr txBox="1"/>
          <p:nvPr/>
        </p:nvSpPr>
        <p:spPr>
          <a:xfrm>
            <a:off x="4514850" y="1346184"/>
            <a:ext cx="491490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5250" b="1" kern="1200" dirty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PA OVERVIE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1E06802-AD2D-4BAD-97AA-A104B4379B83}"/>
              </a:ext>
            </a:extLst>
          </p:cNvPr>
          <p:cNvSpPr txBox="1"/>
          <p:nvPr/>
        </p:nvSpPr>
        <p:spPr>
          <a:xfrm>
            <a:off x="4638226" y="3327163"/>
            <a:ext cx="4914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2100" kern="1200" dirty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short primer to RPA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7316DA8-DD27-4000-9F74-FA7DED5AB81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230882"/>
            <a:ext cx="4681738" cy="468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070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Roles and Responsibilities: </a:t>
            </a:r>
            <a:r>
              <a:rPr lang="en-US" kern="1200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(ISG)</a:t>
            </a:r>
            <a:endParaRPr lang="en-US" dirty="0"/>
          </a:p>
        </p:txBody>
      </p:sp>
      <p:sp>
        <p:nvSpPr>
          <p:cNvPr id="7" name="Rectángulo 6"/>
          <p:cNvSpPr/>
          <p:nvPr/>
        </p:nvSpPr>
        <p:spPr>
          <a:xfrm>
            <a:off x="3147165" y="1074168"/>
            <a:ext cx="56897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lement and Operate Infrastruct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lidate current configuration/Configure Infra Layer in Environment to Receive Deploymen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0" y="1018956"/>
            <a:ext cx="3067352" cy="914337"/>
            <a:chOff x="795736" y="942937"/>
            <a:chExt cx="3067352" cy="914337"/>
          </a:xfrm>
        </p:grpSpPr>
        <p:grpSp>
          <p:nvGrpSpPr>
            <p:cNvPr id="21" name="Grupo 20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22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3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24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6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27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2" name="CuadroTexto 1"/>
            <p:cNvSpPr txBox="1"/>
            <p:nvPr/>
          </p:nvSpPr>
          <p:spPr>
            <a:xfrm>
              <a:off x="915484" y="1231280"/>
              <a:ext cx="21083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Infra </a:t>
              </a: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quad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190401" y="4797922"/>
            <a:ext cx="3542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full RACI matrix please refer to this document APPENDIX 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3138154" y="2414605"/>
            <a:ext cx="5689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ploy Packages in Production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3" y="2155838"/>
            <a:ext cx="3067352" cy="914337"/>
            <a:chOff x="795736" y="942937"/>
            <a:chExt cx="3067352" cy="914337"/>
          </a:xfrm>
        </p:grpSpPr>
        <p:grpSp>
          <p:nvGrpSpPr>
            <p:cNvPr id="17" name="Grupo 16"/>
            <p:cNvGrpSpPr/>
            <p:nvPr/>
          </p:nvGrpSpPr>
          <p:grpSpPr>
            <a:xfrm>
              <a:off x="795736" y="942937"/>
              <a:ext cx="3067352" cy="914337"/>
              <a:chOff x="-805981" y="3951101"/>
              <a:chExt cx="3067352" cy="914337"/>
            </a:xfrm>
          </p:grpSpPr>
          <p:sp>
            <p:nvSpPr>
              <p:cNvPr id="19" name="Google Shape;173;p27"/>
              <p:cNvSpPr/>
              <p:nvPr/>
            </p:nvSpPr>
            <p:spPr>
              <a:xfrm rot="5400000">
                <a:off x="270526" y="2874594"/>
                <a:ext cx="914337" cy="306735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236081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0" name="Google Shape;174;p27"/>
              <p:cNvGrpSpPr/>
              <p:nvPr/>
            </p:nvGrpSpPr>
            <p:grpSpPr>
              <a:xfrm rot="5400000">
                <a:off x="1426978" y="4058524"/>
                <a:ext cx="699493" cy="699492"/>
                <a:chOff x="1409702" y="1240972"/>
                <a:chExt cx="1524000" cy="1523999"/>
              </a:xfrm>
            </p:grpSpPr>
            <p:sp>
              <p:nvSpPr>
                <p:cNvPr id="33" name="Google Shape;175;p27"/>
                <p:cNvSpPr/>
                <p:nvPr/>
              </p:nvSpPr>
              <p:spPr>
                <a:xfrm>
                  <a:off x="1409702" y="1240972"/>
                  <a:ext cx="1524000" cy="1523999"/>
                </a:xfrm>
                <a:prstGeom prst="ellipse">
                  <a:avLst/>
                </a:prstGeom>
                <a:solidFill>
                  <a:srgbClr val="D0E6F2"/>
                </a:solidFill>
                <a:ln>
                  <a:noFill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" name="Google Shape;176;p27"/>
                <p:cNvSpPr/>
                <p:nvPr/>
              </p:nvSpPr>
              <p:spPr>
                <a:xfrm>
                  <a:off x="1537612" y="1366158"/>
                  <a:ext cx="1268183" cy="1273627"/>
                </a:xfrm>
                <a:prstGeom prst="ellipse">
                  <a:avLst/>
                </a:prstGeom>
                <a:solidFill>
                  <a:srgbClr val="D0E6F2"/>
                </a:solidFill>
                <a:ln w="28575" cap="flat" cmpd="sng">
                  <a:solidFill>
                    <a:srgbClr val="236081"/>
                  </a:solidFill>
                  <a:prstDash val="solid"/>
                  <a:miter lim="800000"/>
                  <a:headEnd type="none" w="sm" len="sm"/>
                  <a:tailEnd type="none" w="sm" len="sm"/>
                </a:ln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9" name="Google Shape;193;p27"/>
              <p:cNvGrpSpPr/>
              <p:nvPr/>
            </p:nvGrpSpPr>
            <p:grpSpPr>
              <a:xfrm>
                <a:off x="1668116" y="4259043"/>
                <a:ext cx="217216" cy="298453"/>
                <a:chOff x="1905" y="153"/>
                <a:chExt cx="869" cy="1194"/>
              </a:xfrm>
            </p:grpSpPr>
            <p:sp>
              <p:nvSpPr>
                <p:cNvPr id="31" name="Google Shape;194;p27"/>
                <p:cNvSpPr/>
                <p:nvPr/>
              </p:nvSpPr>
              <p:spPr>
                <a:xfrm>
                  <a:off x="2085" y="153"/>
                  <a:ext cx="510" cy="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60000" y="0"/>
                      </a:moveTo>
                      <a:lnTo>
                        <a:pt x="65725" y="315"/>
                      </a:lnTo>
                      <a:lnTo>
                        <a:pt x="71372" y="1103"/>
                      </a:lnTo>
                      <a:lnTo>
                        <a:pt x="76784" y="2444"/>
                      </a:lnTo>
                      <a:lnTo>
                        <a:pt x="82039" y="4178"/>
                      </a:lnTo>
                      <a:lnTo>
                        <a:pt x="87058" y="6465"/>
                      </a:lnTo>
                      <a:lnTo>
                        <a:pt x="91764" y="9145"/>
                      </a:lnTo>
                      <a:lnTo>
                        <a:pt x="96313" y="12299"/>
                      </a:lnTo>
                      <a:lnTo>
                        <a:pt x="100392" y="15768"/>
                      </a:lnTo>
                      <a:lnTo>
                        <a:pt x="104235" y="19553"/>
                      </a:lnTo>
                      <a:lnTo>
                        <a:pt x="107764" y="23653"/>
                      </a:lnTo>
                      <a:lnTo>
                        <a:pt x="110901" y="28226"/>
                      </a:lnTo>
                      <a:lnTo>
                        <a:pt x="113568" y="32877"/>
                      </a:lnTo>
                      <a:lnTo>
                        <a:pt x="115764" y="38002"/>
                      </a:lnTo>
                      <a:lnTo>
                        <a:pt x="117568" y="43206"/>
                      </a:lnTo>
                      <a:lnTo>
                        <a:pt x="118901" y="48567"/>
                      </a:lnTo>
                      <a:lnTo>
                        <a:pt x="119686" y="54244"/>
                      </a:lnTo>
                      <a:lnTo>
                        <a:pt x="120000" y="60000"/>
                      </a:lnTo>
                      <a:lnTo>
                        <a:pt x="119686" y="65755"/>
                      </a:lnTo>
                      <a:lnTo>
                        <a:pt x="118901" y="71432"/>
                      </a:lnTo>
                      <a:lnTo>
                        <a:pt x="117568" y="76793"/>
                      </a:lnTo>
                      <a:lnTo>
                        <a:pt x="115764" y="81997"/>
                      </a:lnTo>
                      <a:lnTo>
                        <a:pt x="113568" y="87043"/>
                      </a:lnTo>
                      <a:lnTo>
                        <a:pt x="110901" y="91773"/>
                      </a:lnTo>
                      <a:lnTo>
                        <a:pt x="107764" y="96346"/>
                      </a:lnTo>
                      <a:lnTo>
                        <a:pt x="104235" y="100367"/>
                      </a:lnTo>
                      <a:lnTo>
                        <a:pt x="100392" y="104231"/>
                      </a:lnTo>
                      <a:lnTo>
                        <a:pt x="96313" y="107700"/>
                      </a:lnTo>
                      <a:lnTo>
                        <a:pt x="91764" y="110854"/>
                      </a:lnTo>
                      <a:lnTo>
                        <a:pt x="87058" y="113534"/>
                      </a:lnTo>
                      <a:lnTo>
                        <a:pt x="82039" y="115821"/>
                      </a:lnTo>
                      <a:lnTo>
                        <a:pt x="76784" y="117555"/>
                      </a:lnTo>
                      <a:lnTo>
                        <a:pt x="71372" y="118896"/>
                      </a:lnTo>
                      <a:lnTo>
                        <a:pt x="65725" y="119763"/>
                      </a:lnTo>
                      <a:lnTo>
                        <a:pt x="60000" y="120000"/>
                      </a:lnTo>
                      <a:lnTo>
                        <a:pt x="54274" y="119763"/>
                      </a:lnTo>
                      <a:lnTo>
                        <a:pt x="48549" y="118896"/>
                      </a:lnTo>
                      <a:lnTo>
                        <a:pt x="43215" y="117555"/>
                      </a:lnTo>
                      <a:lnTo>
                        <a:pt x="37882" y="115821"/>
                      </a:lnTo>
                      <a:lnTo>
                        <a:pt x="32862" y="113534"/>
                      </a:lnTo>
                      <a:lnTo>
                        <a:pt x="28078" y="110854"/>
                      </a:lnTo>
                      <a:lnTo>
                        <a:pt x="23686" y="107700"/>
                      </a:lnTo>
                      <a:lnTo>
                        <a:pt x="19450" y="104231"/>
                      </a:lnTo>
                      <a:lnTo>
                        <a:pt x="15686" y="100367"/>
                      </a:lnTo>
                      <a:lnTo>
                        <a:pt x="12235" y="96346"/>
                      </a:lnTo>
                      <a:lnTo>
                        <a:pt x="9098" y="91773"/>
                      </a:lnTo>
                      <a:lnTo>
                        <a:pt x="6431" y="87043"/>
                      </a:lnTo>
                      <a:lnTo>
                        <a:pt x="4156" y="81997"/>
                      </a:lnTo>
                      <a:lnTo>
                        <a:pt x="2431" y="76793"/>
                      </a:lnTo>
                      <a:lnTo>
                        <a:pt x="1098" y="71432"/>
                      </a:lnTo>
                      <a:lnTo>
                        <a:pt x="235" y="65755"/>
                      </a:lnTo>
                      <a:lnTo>
                        <a:pt x="0" y="60000"/>
                      </a:lnTo>
                      <a:lnTo>
                        <a:pt x="235" y="54244"/>
                      </a:lnTo>
                      <a:lnTo>
                        <a:pt x="1098" y="48567"/>
                      </a:lnTo>
                      <a:lnTo>
                        <a:pt x="2431" y="43206"/>
                      </a:lnTo>
                      <a:lnTo>
                        <a:pt x="4156" y="38002"/>
                      </a:lnTo>
                      <a:lnTo>
                        <a:pt x="6431" y="32877"/>
                      </a:lnTo>
                      <a:lnTo>
                        <a:pt x="9098" y="28226"/>
                      </a:lnTo>
                      <a:lnTo>
                        <a:pt x="12235" y="23653"/>
                      </a:lnTo>
                      <a:lnTo>
                        <a:pt x="15686" y="19553"/>
                      </a:lnTo>
                      <a:lnTo>
                        <a:pt x="19450" y="15768"/>
                      </a:lnTo>
                      <a:lnTo>
                        <a:pt x="23686" y="12299"/>
                      </a:lnTo>
                      <a:lnTo>
                        <a:pt x="28078" y="9145"/>
                      </a:lnTo>
                      <a:lnTo>
                        <a:pt x="32862" y="6465"/>
                      </a:lnTo>
                      <a:lnTo>
                        <a:pt x="37882" y="4178"/>
                      </a:lnTo>
                      <a:lnTo>
                        <a:pt x="43215" y="2444"/>
                      </a:lnTo>
                      <a:lnTo>
                        <a:pt x="48549" y="1103"/>
                      </a:lnTo>
                      <a:lnTo>
                        <a:pt x="54274" y="315"/>
                      </a:lnTo>
                      <a:lnTo>
                        <a:pt x="60000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195;p27"/>
                <p:cNvSpPr/>
                <p:nvPr/>
              </p:nvSpPr>
              <p:spPr>
                <a:xfrm>
                  <a:off x="1905" y="678"/>
                  <a:ext cx="869" cy="6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000" h="120000" extrusionOk="0">
                      <a:moveTo>
                        <a:pt x="57147" y="31525"/>
                      </a:moveTo>
                      <a:lnTo>
                        <a:pt x="56917" y="31525"/>
                      </a:lnTo>
                      <a:lnTo>
                        <a:pt x="56825" y="31645"/>
                      </a:lnTo>
                      <a:lnTo>
                        <a:pt x="56733" y="31764"/>
                      </a:lnTo>
                      <a:lnTo>
                        <a:pt x="56687" y="32063"/>
                      </a:lnTo>
                      <a:lnTo>
                        <a:pt x="53650" y="91226"/>
                      </a:lnTo>
                      <a:lnTo>
                        <a:pt x="53696" y="91465"/>
                      </a:lnTo>
                      <a:lnTo>
                        <a:pt x="53742" y="91585"/>
                      </a:lnTo>
                      <a:lnTo>
                        <a:pt x="59723" y="103788"/>
                      </a:lnTo>
                      <a:lnTo>
                        <a:pt x="59861" y="103908"/>
                      </a:lnTo>
                      <a:lnTo>
                        <a:pt x="59953" y="104087"/>
                      </a:lnTo>
                      <a:lnTo>
                        <a:pt x="60092" y="104087"/>
                      </a:lnTo>
                      <a:lnTo>
                        <a:pt x="60092" y="104087"/>
                      </a:lnTo>
                      <a:lnTo>
                        <a:pt x="60230" y="104087"/>
                      </a:lnTo>
                      <a:lnTo>
                        <a:pt x="60414" y="103908"/>
                      </a:lnTo>
                      <a:lnTo>
                        <a:pt x="60506" y="103788"/>
                      </a:lnTo>
                      <a:lnTo>
                        <a:pt x="66947" y="91645"/>
                      </a:lnTo>
                      <a:lnTo>
                        <a:pt x="66993" y="91465"/>
                      </a:lnTo>
                      <a:lnTo>
                        <a:pt x="66993" y="91226"/>
                      </a:lnTo>
                      <a:lnTo>
                        <a:pt x="63773" y="32063"/>
                      </a:lnTo>
                      <a:lnTo>
                        <a:pt x="63773" y="31764"/>
                      </a:lnTo>
                      <a:lnTo>
                        <a:pt x="63680" y="31645"/>
                      </a:lnTo>
                      <a:lnTo>
                        <a:pt x="63542" y="31525"/>
                      </a:lnTo>
                      <a:lnTo>
                        <a:pt x="63312" y="31525"/>
                      </a:lnTo>
                      <a:lnTo>
                        <a:pt x="57147" y="31525"/>
                      </a:lnTo>
                      <a:close/>
                      <a:moveTo>
                        <a:pt x="52546" y="9571"/>
                      </a:moveTo>
                      <a:lnTo>
                        <a:pt x="51809" y="9690"/>
                      </a:lnTo>
                      <a:lnTo>
                        <a:pt x="51165" y="10109"/>
                      </a:lnTo>
                      <a:lnTo>
                        <a:pt x="50659" y="10767"/>
                      </a:lnTo>
                      <a:lnTo>
                        <a:pt x="50337" y="11545"/>
                      </a:lnTo>
                      <a:lnTo>
                        <a:pt x="50245" y="12562"/>
                      </a:lnTo>
                      <a:lnTo>
                        <a:pt x="56641" y="29670"/>
                      </a:lnTo>
                      <a:lnTo>
                        <a:pt x="64049" y="29670"/>
                      </a:lnTo>
                      <a:lnTo>
                        <a:pt x="70260" y="12562"/>
                      </a:lnTo>
                      <a:lnTo>
                        <a:pt x="70122" y="11545"/>
                      </a:lnTo>
                      <a:lnTo>
                        <a:pt x="69800" y="10767"/>
                      </a:lnTo>
                      <a:lnTo>
                        <a:pt x="69294" y="10109"/>
                      </a:lnTo>
                      <a:lnTo>
                        <a:pt x="68696" y="9690"/>
                      </a:lnTo>
                      <a:lnTo>
                        <a:pt x="67960" y="9571"/>
                      </a:lnTo>
                      <a:lnTo>
                        <a:pt x="52546" y="9571"/>
                      </a:lnTo>
                      <a:close/>
                      <a:moveTo>
                        <a:pt x="45092" y="0"/>
                      </a:moveTo>
                      <a:lnTo>
                        <a:pt x="74907" y="0"/>
                      </a:lnTo>
                      <a:lnTo>
                        <a:pt x="78588" y="179"/>
                      </a:lnTo>
                      <a:lnTo>
                        <a:pt x="82223" y="717"/>
                      </a:lnTo>
                      <a:lnTo>
                        <a:pt x="85766" y="1674"/>
                      </a:lnTo>
                      <a:lnTo>
                        <a:pt x="89125" y="2991"/>
                      </a:lnTo>
                      <a:lnTo>
                        <a:pt x="92438" y="4546"/>
                      </a:lnTo>
                      <a:lnTo>
                        <a:pt x="95613" y="6460"/>
                      </a:lnTo>
                      <a:lnTo>
                        <a:pt x="98650" y="8733"/>
                      </a:lnTo>
                      <a:lnTo>
                        <a:pt x="101503" y="11246"/>
                      </a:lnTo>
                      <a:lnTo>
                        <a:pt x="104217" y="13998"/>
                      </a:lnTo>
                      <a:lnTo>
                        <a:pt x="106748" y="17048"/>
                      </a:lnTo>
                      <a:lnTo>
                        <a:pt x="109095" y="20338"/>
                      </a:lnTo>
                      <a:lnTo>
                        <a:pt x="111257" y="23868"/>
                      </a:lnTo>
                      <a:lnTo>
                        <a:pt x="113190" y="27577"/>
                      </a:lnTo>
                      <a:lnTo>
                        <a:pt x="114938" y="31465"/>
                      </a:lnTo>
                      <a:lnTo>
                        <a:pt x="116411" y="35533"/>
                      </a:lnTo>
                      <a:lnTo>
                        <a:pt x="117699" y="39840"/>
                      </a:lnTo>
                      <a:lnTo>
                        <a:pt x="118665" y="44267"/>
                      </a:lnTo>
                      <a:lnTo>
                        <a:pt x="119355" y="48813"/>
                      </a:lnTo>
                      <a:lnTo>
                        <a:pt x="119815" y="53419"/>
                      </a:lnTo>
                      <a:lnTo>
                        <a:pt x="120000" y="58205"/>
                      </a:lnTo>
                      <a:lnTo>
                        <a:pt x="120000" y="105463"/>
                      </a:lnTo>
                      <a:lnTo>
                        <a:pt x="119723" y="105463"/>
                      </a:lnTo>
                      <a:lnTo>
                        <a:pt x="117377" y="107018"/>
                      </a:lnTo>
                      <a:lnTo>
                        <a:pt x="117055" y="107258"/>
                      </a:lnTo>
                      <a:lnTo>
                        <a:pt x="116457" y="107557"/>
                      </a:lnTo>
                      <a:lnTo>
                        <a:pt x="115628" y="108035"/>
                      </a:lnTo>
                      <a:lnTo>
                        <a:pt x="114524" y="108634"/>
                      </a:lnTo>
                      <a:lnTo>
                        <a:pt x="113190" y="109351"/>
                      </a:lnTo>
                      <a:lnTo>
                        <a:pt x="111579" y="110129"/>
                      </a:lnTo>
                      <a:lnTo>
                        <a:pt x="109647" y="111026"/>
                      </a:lnTo>
                      <a:lnTo>
                        <a:pt x="107576" y="111924"/>
                      </a:lnTo>
                      <a:lnTo>
                        <a:pt x="105230" y="112821"/>
                      </a:lnTo>
                      <a:lnTo>
                        <a:pt x="102607" y="113778"/>
                      </a:lnTo>
                      <a:lnTo>
                        <a:pt x="99754" y="114675"/>
                      </a:lnTo>
                      <a:lnTo>
                        <a:pt x="96671" y="115633"/>
                      </a:lnTo>
                      <a:lnTo>
                        <a:pt x="93358" y="116470"/>
                      </a:lnTo>
                      <a:lnTo>
                        <a:pt x="89769" y="117367"/>
                      </a:lnTo>
                      <a:lnTo>
                        <a:pt x="86042" y="118085"/>
                      </a:lnTo>
                      <a:lnTo>
                        <a:pt x="82039" y="118743"/>
                      </a:lnTo>
                      <a:lnTo>
                        <a:pt x="77852" y="119282"/>
                      </a:lnTo>
                      <a:lnTo>
                        <a:pt x="73389" y="119641"/>
                      </a:lnTo>
                      <a:lnTo>
                        <a:pt x="68742" y="119940"/>
                      </a:lnTo>
                      <a:lnTo>
                        <a:pt x="63865" y="120000"/>
                      </a:lnTo>
                      <a:lnTo>
                        <a:pt x="59171" y="119940"/>
                      </a:lnTo>
                      <a:lnTo>
                        <a:pt x="54248" y="119641"/>
                      </a:lnTo>
                      <a:lnTo>
                        <a:pt x="49233" y="119222"/>
                      </a:lnTo>
                      <a:lnTo>
                        <a:pt x="43941" y="118504"/>
                      </a:lnTo>
                      <a:lnTo>
                        <a:pt x="38512" y="117666"/>
                      </a:lnTo>
                      <a:lnTo>
                        <a:pt x="32944" y="116590"/>
                      </a:lnTo>
                      <a:lnTo>
                        <a:pt x="27239" y="115274"/>
                      </a:lnTo>
                      <a:lnTo>
                        <a:pt x="21303" y="113718"/>
                      </a:lnTo>
                      <a:lnTo>
                        <a:pt x="15230" y="111804"/>
                      </a:lnTo>
                      <a:lnTo>
                        <a:pt x="8972" y="109651"/>
                      </a:lnTo>
                      <a:lnTo>
                        <a:pt x="2622" y="107258"/>
                      </a:lnTo>
                      <a:lnTo>
                        <a:pt x="92" y="106181"/>
                      </a:lnTo>
                      <a:lnTo>
                        <a:pt x="0" y="105463"/>
                      </a:lnTo>
                      <a:lnTo>
                        <a:pt x="0" y="58205"/>
                      </a:lnTo>
                      <a:lnTo>
                        <a:pt x="138" y="53419"/>
                      </a:lnTo>
                      <a:lnTo>
                        <a:pt x="598" y="48813"/>
                      </a:lnTo>
                      <a:lnTo>
                        <a:pt x="1334" y="44267"/>
                      </a:lnTo>
                      <a:lnTo>
                        <a:pt x="2300" y="39840"/>
                      </a:lnTo>
                      <a:lnTo>
                        <a:pt x="3542" y="35533"/>
                      </a:lnTo>
                      <a:lnTo>
                        <a:pt x="5061" y="31465"/>
                      </a:lnTo>
                      <a:lnTo>
                        <a:pt x="6763" y="27577"/>
                      </a:lnTo>
                      <a:lnTo>
                        <a:pt x="8696" y="23868"/>
                      </a:lnTo>
                      <a:lnTo>
                        <a:pt x="10812" y="20338"/>
                      </a:lnTo>
                      <a:lnTo>
                        <a:pt x="13251" y="17048"/>
                      </a:lnTo>
                      <a:lnTo>
                        <a:pt x="15736" y="13998"/>
                      </a:lnTo>
                      <a:lnTo>
                        <a:pt x="18450" y="11246"/>
                      </a:lnTo>
                      <a:lnTo>
                        <a:pt x="21349" y="8733"/>
                      </a:lnTo>
                      <a:lnTo>
                        <a:pt x="24386" y="6460"/>
                      </a:lnTo>
                      <a:lnTo>
                        <a:pt x="27561" y="4546"/>
                      </a:lnTo>
                      <a:lnTo>
                        <a:pt x="30828" y="2991"/>
                      </a:lnTo>
                      <a:lnTo>
                        <a:pt x="34233" y="1674"/>
                      </a:lnTo>
                      <a:lnTo>
                        <a:pt x="37776" y="717"/>
                      </a:lnTo>
                      <a:lnTo>
                        <a:pt x="41365" y="179"/>
                      </a:lnTo>
                      <a:lnTo>
                        <a:pt x="45092" y="0"/>
                      </a:lnTo>
                      <a:close/>
                    </a:path>
                  </a:pathLst>
                </a:custGeom>
                <a:solidFill>
                  <a:srgbClr val="23608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sp>
          <p:nvSpPr>
            <p:cNvPr id="18" name="CuadroTexto 17"/>
            <p:cNvSpPr txBox="1"/>
            <p:nvPr/>
          </p:nvSpPr>
          <p:spPr>
            <a:xfrm>
              <a:off x="866534" y="1256782"/>
              <a:ext cx="22062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DevOps Engineer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9012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DejaVu Sans"/>
                <a:cs typeface="+mn-cs"/>
                <a:sym typeface="Arial"/>
              </a:rPr>
              <a:t>Structure and Organizational Model</a:t>
            </a:r>
            <a:endParaRPr kumimoji="0" lang="es-ES" sz="1400" b="0" i="0" u="none" strike="noStrike" kern="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Sco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o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esponsibilities</a:t>
            </a:r>
          </a:p>
        </p:txBody>
      </p:sp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  <a:cs typeface="+mn-cs"/>
                <a:sym typeface="Arial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764613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Operational model</a:t>
            </a:r>
            <a:endParaRPr kumimoji="0" lang="en-US" sz="1400" b="0" i="1" u="none" strike="noStrike" kern="0" cap="none" spc="-1" normalizeH="0" baseline="0" noProof="0" dirty="0" smtClean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i="1" spc="-1" dirty="0" err="1" smtClean="0">
                <a:solidFill>
                  <a:schemeClr val="bg1">
                    <a:lumMod val="75000"/>
                  </a:schemeClr>
                </a:solidFill>
                <a:latin typeface="Arial"/>
                <a:ea typeface="MS PGothic"/>
              </a:rPr>
              <a:t>Documentation</a:t>
            </a:r>
            <a:endParaRPr kumimoji="0" lang="en-US" sz="1400" b="0" i="1" u="none" strike="noStrike" kern="0" cap="none" spc="-1" normalizeH="0" baseline="0" noProof="0" dirty="0" smtClean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Arial"/>
              <a:ea typeface="MS PGothic"/>
              <a:sym typeface="Arial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3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1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2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1"/>
            <a:ext cx="7691014" cy="12044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07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54"/>
          <p:cNvSpPr/>
          <p:nvPr/>
        </p:nvSpPr>
        <p:spPr>
          <a:xfrm>
            <a:off x="1661478" y="2098380"/>
            <a:ext cx="5832175" cy="1055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p54"/>
          <p:cNvSpPr/>
          <p:nvPr/>
        </p:nvSpPr>
        <p:spPr>
          <a:xfrm>
            <a:off x="1637397" y="2101210"/>
            <a:ext cx="5832095" cy="1052525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127"/>
                </a:moveTo>
                <a:cubicBezTo>
                  <a:pt x="1882" y="271"/>
                  <a:pt x="1882" y="271"/>
                  <a:pt x="1882" y="271"/>
                </a:cubicBezTo>
                <a:cubicBezTo>
                  <a:pt x="1882" y="292"/>
                  <a:pt x="1866" y="309"/>
                  <a:pt x="1846" y="309"/>
                </a:cubicBezTo>
                <a:cubicBezTo>
                  <a:pt x="1687" y="309"/>
                  <a:pt x="1687" y="309"/>
                  <a:pt x="1687" y="309"/>
                </a:cubicBezTo>
                <a:cubicBezTo>
                  <a:pt x="1667" y="309"/>
                  <a:pt x="1651" y="292"/>
                  <a:pt x="1651" y="271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5"/>
                  <a:pt x="1651" y="125"/>
                  <a:pt x="1651" y="125"/>
                </a:cubicBezTo>
                <a:cubicBezTo>
                  <a:pt x="1651" y="56"/>
                  <a:pt x="1598" y="0"/>
                  <a:pt x="1532" y="0"/>
                </a:cubicBezTo>
                <a:cubicBezTo>
                  <a:pt x="1374" y="0"/>
                  <a:pt x="1374" y="0"/>
                  <a:pt x="1374" y="0"/>
                </a:cubicBezTo>
                <a:cubicBezTo>
                  <a:pt x="1308" y="0"/>
                  <a:pt x="1255" y="56"/>
                  <a:pt x="1255" y="125"/>
                </a:cubicBezTo>
                <a:cubicBezTo>
                  <a:pt x="1255" y="127"/>
                  <a:pt x="1255" y="127"/>
                  <a:pt x="1255" y="127"/>
                </a:cubicBezTo>
                <a:cubicBezTo>
                  <a:pt x="1254" y="127"/>
                  <a:pt x="1254" y="127"/>
                  <a:pt x="1254" y="127"/>
                </a:cubicBezTo>
                <a:cubicBezTo>
                  <a:pt x="1254" y="271"/>
                  <a:pt x="1254" y="271"/>
                  <a:pt x="1254" y="271"/>
                </a:cubicBezTo>
                <a:cubicBezTo>
                  <a:pt x="1254" y="292"/>
                  <a:pt x="1238" y="309"/>
                  <a:pt x="1218" y="309"/>
                </a:cubicBezTo>
                <a:cubicBezTo>
                  <a:pt x="1060" y="309"/>
                  <a:pt x="1060" y="309"/>
                  <a:pt x="1060" y="309"/>
                </a:cubicBezTo>
                <a:cubicBezTo>
                  <a:pt x="1040" y="309"/>
                  <a:pt x="1023" y="292"/>
                  <a:pt x="1023" y="271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5"/>
                  <a:pt x="1023" y="125"/>
                  <a:pt x="1023" y="125"/>
                </a:cubicBezTo>
                <a:cubicBezTo>
                  <a:pt x="1023" y="56"/>
                  <a:pt x="970" y="0"/>
                  <a:pt x="904" y="0"/>
                </a:cubicBezTo>
                <a:cubicBezTo>
                  <a:pt x="746" y="0"/>
                  <a:pt x="746" y="0"/>
                  <a:pt x="746" y="0"/>
                </a:cubicBezTo>
                <a:cubicBezTo>
                  <a:pt x="680" y="0"/>
                  <a:pt x="627" y="56"/>
                  <a:pt x="627" y="125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71"/>
                  <a:pt x="627" y="271"/>
                  <a:pt x="627" y="271"/>
                </a:cubicBezTo>
                <a:cubicBezTo>
                  <a:pt x="627" y="292"/>
                  <a:pt x="611" y="309"/>
                  <a:pt x="591" y="309"/>
                </a:cubicBezTo>
                <a:cubicBezTo>
                  <a:pt x="433" y="309"/>
                  <a:pt x="433" y="309"/>
                  <a:pt x="433" y="309"/>
                </a:cubicBezTo>
                <a:cubicBezTo>
                  <a:pt x="413" y="309"/>
                  <a:pt x="396" y="292"/>
                  <a:pt x="396" y="271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5"/>
                  <a:pt x="396" y="125"/>
                  <a:pt x="396" y="125"/>
                </a:cubicBezTo>
                <a:cubicBezTo>
                  <a:pt x="396" y="56"/>
                  <a:pt x="343" y="0"/>
                  <a:pt x="277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53" y="0"/>
                  <a:pt x="0" y="56"/>
                  <a:pt x="0" y="125"/>
                </a:cubicBezTo>
                <a:cubicBezTo>
                  <a:pt x="0" y="268"/>
                  <a:pt x="0" y="268"/>
                  <a:pt x="0" y="268"/>
                </a:cubicBezTo>
                <a:cubicBezTo>
                  <a:pt x="83" y="268"/>
                  <a:pt x="83" y="268"/>
                  <a:pt x="83" y="268"/>
                </a:cubicBezTo>
                <a:cubicBezTo>
                  <a:pt x="83" y="125"/>
                  <a:pt x="83" y="125"/>
                  <a:pt x="83" y="125"/>
                </a:cubicBezTo>
                <a:cubicBezTo>
                  <a:pt x="83" y="104"/>
                  <a:pt x="99" y="87"/>
                  <a:pt x="119" y="87"/>
                </a:cubicBezTo>
                <a:cubicBezTo>
                  <a:pt x="277" y="87"/>
                  <a:pt x="277" y="87"/>
                  <a:pt x="277" y="87"/>
                </a:cubicBezTo>
                <a:cubicBezTo>
                  <a:pt x="297" y="87"/>
                  <a:pt x="314" y="104"/>
                  <a:pt x="314" y="125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71"/>
                  <a:pt x="314" y="271"/>
                  <a:pt x="314" y="271"/>
                </a:cubicBezTo>
                <a:cubicBezTo>
                  <a:pt x="314" y="340"/>
                  <a:pt x="367" y="395"/>
                  <a:pt x="433" y="395"/>
                </a:cubicBezTo>
                <a:cubicBezTo>
                  <a:pt x="591" y="395"/>
                  <a:pt x="591" y="395"/>
                  <a:pt x="591" y="395"/>
                </a:cubicBezTo>
                <a:cubicBezTo>
                  <a:pt x="657" y="395"/>
                  <a:pt x="710" y="340"/>
                  <a:pt x="710" y="271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5"/>
                  <a:pt x="710" y="125"/>
                  <a:pt x="710" y="125"/>
                </a:cubicBezTo>
                <a:cubicBezTo>
                  <a:pt x="710" y="104"/>
                  <a:pt x="726" y="87"/>
                  <a:pt x="746" y="87"/>
                </a:cubicBezTo>
                <a:cubicBezTo>
                  <a:pt x="904" y="87"/>
                  <a:pt x="904" y="87"/>
                  <a:pt x="904" y="87"/>
                </a:cubicBezTo>
                <a:cubicBezTo>
                  <a:pt x="924" y="87"/>
                  <a:pt x="941" y="104"/>
                  <a:pt x="941" y="125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71"/>
                  <a:pt x="941" y="271"/>
                  <a:pt x="941" y="271"/>
                </a:cubicBezTo>
                <a:cubicBezTo>
                  <a:pt x="941" y="340"/>
                  <a:pt x="994" y="395"/>
                  <a:pt x="1060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84" y="395"/>
                  <a:pt x="1337" y="340"/>
                  <a:pt x="1337" y="271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125"/>
                  <a:pt x="1337" y="125"/>
                  <a:pt x="1337" y="125"/>
                </a:cubicBezTo>
                <a:cubicBezTo>
                  <a:pt x="1337" y="104"/>
                  <a:pt x="1354" y="87"/>
                  <a:pt x="1374" y="87"/>
                </a:cubicBezTo>
                <a:cubicBezTo>
                  <a:pt x="1532" y="87"/>
                  <a:pt x="1532" y="87"/>
                  <a:pt x="1532" y="87"/>
                </a:cubicBezTo>
                <a:cubicBezTo>
                  <a:pt x="1552" y="87"/>
                  <a:pt x="1568" y="104"/>
                  <a:pt x="1568" y="125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71"/>
                  <a:pt x="1568" y="271"/>
                  <a:pt x="1568" y="271"/>
                </a:cubicBezTo>
                <a:cubicBezTo>
                  <a:pt x="1568" y="340"/>
                  <a:pt x="1622" y="395"/>
                  <a:pt x="1687" y="395"/>
                </a:cubicBezTo>
                <a:cubicBezTo>
                  <a:pt x="1846" y="395"/>
                  <a:pt x="1846" y="395"/>
                  <a:pt x="1846" y="395"/>
                </a:cubicBezTo>
                <a:cubicBezTo>
                  <a:pt x="1911" y="395"/>
                  <a:pt x="1965" y="340"/>
                  <a:pt x="1965" y="271"/>
                </a:cubicBezTo>
                <a:cubicBezTo>
                  <a:pt x="1965" y="127"/>
                  <a:pt x="1965" y="127"/>
                  <a:pt x="1965" y="127"/>
                </a:cubicBezTo>
                <a:lnTo>
                  <a:pt x="1882" y="1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p54"/>
          <p:cNvSpPr/>
          <p:nvPr/>
        </p:nvSpPr>
        <p:spPr>
          <a:xfrm>
            <a:off x="1637397" y="2101210"/>
            <a:ext cx="5832095" cy="1052525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268"/>
                </a:moveTo>
                <a:cubicBezTo>
                  <a:pt x="1882" y="125"/>
                  <a:pt x="1882" y="125"/>
                  <a:pt x="1882" y="125"/>
                </a:cubicBezTo>
                <a:cubicBezTo>
                  <a:pt x="1882" y="104"/>
                  <a:pt x="1866" y="87"/>
                  <a:pt x="1846" y="87"/>
                </a:cubicBezTo>
                <a:cubicBezTo>
                  <a:pt x="1687" y="87"/>
                  <a:pt x="1687" y="87"/>
                  <a:pt x="1687" y="87"/>
                </a:cubicBezTo>
                <a:cubicBezTo>
                  <a:pt x="1667" y="87"/>
                  <a:pt x="1651" y="104"/>
                  <a:pt x="1651" y="125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71"/>
                  <a:pt x="1651" y="271"/>
                  <a:pt x="1651" y="271"/>
                </a:cubicBezTo>
                <a:cubicBezTo>
                  <a:pt x="1651" y="340"/>
                  <a:pt x="1598" y="395"/>
                  <a:pt x="1532" y="395"/>
                </a:cubicBezTo>
                <a:cubicBezTo>
                  <a:pt x="1374" y="395"/>
                  <a:pt x="1374" y="395"/>
                  <a:pt x="1374" y="395"/>
                </a:cubicBezTo>
                <a:cubicBezTo>
                  <a:pt x="1308" y="395"/>
                  <a:pt x="1255" y="340"/>
                  <a:pt x="1255" y="271"/>
                </a:cubicBezTo>
                <a:cubicBezTo>
                  <a:pt x="1255" y="268"/>
                  <a:pt x="1255" y="268"/>
                  <a:pt x="1255" y="268"/>
                </a:cubicBezTo>
                <a:cubicBezTo>
                  <a:pt x="1254" y="268"/>
                  <a:pt x="1254" y="268"/>
                  <a:pt x="1254" y="268"/>
                </a:cubicBezTo>
                <a:cubicBezTo>
                  <a:pt x="1254" y="125"/>
                  <a:pt x="1254" y="125"/>
                  <a:pt x="1254" y="125"/>
                </a:cubicBezTo>
                <a:cubicBezTo>
                  <a:pt x="1254" y="104"/>
                  <a:pt x="1238" y="87"/>
                  <a:pt x="1218" y="87"/>
                </a:cubicBezTo>
                <a:cubicBezTo>
                  <a:pt x="1060" y="87"/>
                  <a:pt x="1060" y="87"/>
                  <a:pt x="1060" y="87"/>
                </a:cubicBezTo>
                <a:cubicBezTo>
                  <a:pt x="1040" y="87"/>
                  <a:pt x="1023" y="104"/>
                  <a:pt x="1023" y="125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71"/>
                  <a:pt x="1023" y="271"/>
                  <a:pt x="1023" y="271"/>
                </a:cubicBezTo>
                <a:cubicBezTo>
                  <a:pt x="1023" y="340"/>
                  <a:pt x="970" y="395"/>
                  <a:pt x="904" y="395"/>
                </a:cubicBezTo>
                <a:cubicBezTo>
                  <a:pt x="746" y="395"/>
                  <a:pt x="746" y="395"/>
                  <a:pt x="746" y="395"/>
                </a:cubicBezTo>
                <a:cubicBezTo>
                  <a:pt x="680" y="395"/>
                  <a:pt x="627" y="340"/>
                  <a:pt x="627" y="271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5"/>
                  <a:pt x="627" y="125"/>
                  <a:pt x="627" y="125"/>
                </a:cubicBezTo>
                <a:cubicBezTo>
                  <a:pt x="627" y="104"/>
                  <a:pt x="611" y="87"/>
                  <a:pt x="591" y="87"/>
                </a:cubicBezTo>
                <a:cubicBezTo>
                  <a:pt x="433" y="87"/>
                  <a:pt x="433" y="87"/>
                  <a:pt x="433" y="87"/>
                </a:cubicBezTo>
                <a:cubicBezTo>
                  <a:pt x="413" y="87"/>
                  <a:pt x="396" y="104"/>
                  <a:pt x="396" y="125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71"/>
                  <a:pt x="396" y="271"/>
                  <a:pt x="396" y="271"/>
                </a:cubicBezTo>
                <a:cubicBezTo>
                  <a:pt x="396" y="340"/>
                  <a:pt x="343" y="395"/>
                  <a:pt x="277" y="395"/>
                </a:cubicBezTo>
                <a:cubicBezTo>
                  <a:pt x="119" y="395"/>
                  <a:pt x="119" y="395"/>
                  <a:pt x="119" y="395"/>
                </a:cubicBezTo>
                <a:cubicBezTo>
                  <a:pt x="53" y="395"/>
                  <a:pt x="0" y="340"/>
                  <a:pt x="0" y="271"/>
                </a:cubicBezTo>
                <a:cubicBezTo>
                  <a:pt x="0" y="127"/>
                  <a:pt x="0" y="127"/>
                  <a:pt x="0" y="127"/>
                </a:cubicBezTo>
                <a:cubicBezTo>
                  <a:pt x="83" y="127"/>
                  <a:pt x="83" y="127"/>
                  <a:pt x="83" y="127"/>
                </a:cubicBezTo>
                <a:cubicBezTo>
                  <a:pt x="83" y="271"/>
                  <a:pt x="83" y="271"/>
                  <a:pt x="83" y="271"/>
                </a:cubicBezTo>
                <a:cubicBezTo>
                  <a:pt x="83" y="292"/>
                  <a:pt x="99" y="309"/>
                  <a:pt x="119" y="309"/>
                </a:cubicBezTo>
                <a:cubicBezTo>
                  <a:pt x="277" y="309"/>
                  <a:pt x="277" y="309"/>
                  <a:pt x="277" y="309"/>
                </a:cubicBezTo>
                <a:cubicBezTo>
                  <a:pt x="297" y="309"/>
                  <a:pt x="314" y="292"/>
                  <a:pt x="314" y="271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5"/>
                  <a:pt x="314" y="125"/>
                  <a:pt x="314" y="125"/>
                </a:cubicBezTo>
                <a:cubicBezTo>
                  <a:pt x="314" y="56"/>
                  <a:pt x="367" y="0"/>
                  <a:pt x="433" y="0"/>
                </a:cubicBezTo>
                <a:cubicBezTo>
                  <a:pt x="591" y="0"/>
                  <a:pt x="591" y="0"/>
                  <a:pt x="591" y="0"/>
                </a:cubicBezTo>
                <a:cubicBezTo>
                  <a:pt x="657" y="0"/>
                  <a:pt x="710" y="56"/>
                  <a:pt x="710" y="125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71"/>
                  <a:pt x="710" y="271"/>
                  <a:pt x="710" y="271"/>
                </a:cubicBezTo>
                <a:cubicBezTo>
                  <a:pt x="710" y="292"/>
                  <a:pt x="726" y="309"/>
                  <a:pt x="746" y="309"/>
                </a:cubicBezTo>
                <a:cubicBezTo>
                  <a:pt x="904" y="309"/>
                  <a:pt x="904" y="309"/>
                  <a:pt x="904" y="309"/>
                </a:cubicBezTo>
                <a:cubicBezTo>
                  <a:pt x="924" y="309"/>
                  <a:pt x="941" y="292"/>
                  <a:pt x="941" y="271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5"/>
                  <a:pt x="941" y="125"/>
                  <a:pt x="941" y="125"/>
                </a:cubicBezTo>
                <a:cubicBezTo>
                  <a:pt x="941" y="56"/>
                  <a:pt x="994" y="0"/>
                  <a:pt x="1060" y="0"/>
                </a:cubicBezTo>
                <a:cubicBezTo>
                  <a:pt x="1218" y="0"/>
                  <a:pt x="1218" y="0"/>
                  <a:pt x="1218" y="0"/>
                </a:cubicBezTo>
                <a:cubicBezTo>
                  <a:pt x="1284" y="0"/>
                  <a:pt x="1337" y="56"/>
                  <a:pt x="1337" y="125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271"/>
                  <a:pt x="1337" y="271"/>
                  <a:pt x="1337" y="271"/>
                </a:cubicBezTo>
                <a:cubicBezTo>
                  <a:pt x="1337" y="292"/>
                  <a:pt x="1354" y="309"/>
                  <a:pt x="1374" y="309"/>
                </a:cubicBezTo>
                <a:cubicBezTo>
                  <a:pt x="1532" y="309"/>
                  <a:pt x="1532" y="309"/>
                  <a:pt x="1532" y="309"/>
                </a:cubicBezTo>
                <a:cubicBezTo>
                  <a:pt x="1552" y="309"/>
                  <a:pt x="1568" y="292"/>
                  <a:pt x="1568" y="271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5"/>
                  <a:pt x="1568" y="125"/>
                  <a:pt x="1568" y="125"/>
                </a:cubicBezTo>
                <a:cubicBezTo>
                  <a:pt x="1568" y="56"/>
                  <a:pt x="1622" y="0"/>
                  <a:pt x="1687" y="0"/>
                </a:cubicBezTo>
                <a:cubicBezTo>
                  <a:pt x="1846" y="0"/>
                  <a:pt x="1846" y="0"/>
                  <a:pt x="1846" y="0"/>
                </a:cubicBezTo>
                <a:cubicBezTo>
                  <a:pt x="1911" y="0"/>
                  <a:pt x="1965" y="56"/>
                  <a:pt x="1965" y="125"/>
                </a:cubicBezTo>
                <a:cubicBezTo>
                  <a:pt x="1965" y="268"/>
                  <a:pt x="1965" y="268"/>
                  <a:pt x="1965" y="268"/>
                </a:cubicBezTo>
                <a:lnTo>
                  <a:pt x="1882" y="2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p54"/>
          <p:cNvSpPr/>
          <p:nvPr/>
        </p:nvSpPr>
        <p:spPr>
          <a:xfrm>
            <a:off x="1598787" y="3858802"/>
            <a:ext cx="1685320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Arial"/>
                <a:sym typeface="Arial"/>
              </a:rPr>
              <a:t>Transition to Auto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Opportunity Selection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Calibri"/>
              <a:cs typeface="Calibri"/>
              <a:sym typeface="Calibri"/>
            </a:endParaRPr>
          </a:p>
        </p:txBody>
      </p:sp>
      <p:sp>
        <p:nvSpPr>
          <p:cNvPr id="506" name="Google Shape;506;p54"/>
          <p:cNvSpPr/>
          <p:nvPr/>
        </p:nvSpPr>
        <p:spPr>
          <a:xfrm>
            <a:off x="1601427" y="3178449"/>
            <a:ext cx="1719456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1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8" name="Google Shape;508;p54"/>
          <p:cNvSpPr/>
          <p:nvPr/>
        </p:nvSpPr>
        <p:spPr>
          <a:xfrm>
            <a:off x="3515385" y="3858802"/>
            <a:ext cx="1734766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mand Management (Dev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Pre-requisite for De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gile Lifecycle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Calibri"/>
              <a:cs typeface="Calibri"/>
              <a:sym typeface="Calibri"/>
            </a:endParaRPr>
          </a:p>
        </p:txBody>
      </p:sp>
      <p:sp>
        <p:nvSpPr>
          <p:cNvPr id="509" name="Google Shape;509;p54"/>
          <p:cNvSpPr/>
          <p:nvPr/>
        </p:nvSpPr>
        <p:spPr>
          <a:xfrm>
            <a:off x="3519575" y="3178449"/>
            <a:ext cx="1903479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809C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3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1" name="Google Shape;511;p54"/>
          <p:cNvSpPr/>
          <p:nvPr/>
        </p:nvSpPr>
        <p:spPr>
          <a:xfrm>
            <a:off x="5435167" y="3858802"/>
            <a:ext cx="1317254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Oper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Support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Calibri"/>
              <a:cs typeface="Calibri"/>
              <a:sym typeface="Calibri"/>
            </a:endParaRPr>
          </a:p>
        </p:txBody>
      </p:sp>
      <p:sp>
        <p:nvSpPr>
          <p:cNvPr id="512" name="Google Shape;512;p54"/>
          <p:cNvSpPr/>
          <p:nvPr/>
        </p:nvSpPr>
        <p:spPr>
          <a:xfrm>
            <a:off x="5435167" y="3178449"/>
            <a:ext cx="1139874" cy="51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4C51B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5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4" name="Google Shape;514;p54"/>
          <p:cNvSpPr/>
          <p:nvPr/>
        </p:nvSpPr>
        <p:spPr>
          <a:xfrm>
            <a:off x="2709328" y="1427537"/>
            <a:ext cx="1591158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Calibri"/>
                <a:cs typeface="Arial"/>
                <a:sym typeface="Arial"/>
              </a:rPr>
              <a:t>Demand Management Process Definition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" name="Google Shape;515;p54"/>
          <p:cNvSpPr/>
          <p:nvPr/>
        </p:nvSpPr>
        <p:spPr>
          <a:xfrm>
            <a:off x="2709321" y="741566"/>
            <a:ext cx="1825029" cy="510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FFC80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2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7" name="Google Shape;517;p54"/>
          <p:cNvSpPr/>
          <p:nvPr/>
        </p:nvSpPr>
        <p:spPr>
          <a:xfrm>
            <a:off x="4534351" y="1427537"/>
            <a:ext cx="1317254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live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ployment 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" name="Google Shape;518;p54"/>
          <p:cNvSpPr/>
          <p:nvPr/>
        </p:nvSpPr>
        <p:spPr>
          <a:xfrm>
            <a:off x="4534362" y="741566"/>
            <a:ext cx="1034933" cy="510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00B69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4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1" name="Google Shape;521;p54"/>
          <p:cNvSpPr/>
          <p:nvPr/>
        </p:nvSpPr>
        <p:spPr>
          <a:xfrm>
            <a:off x="6463664" y="741567"/>
            <a:ext cx="943549" cy="51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50" b="1" i="0" u="none" strike="noStrike" kern="0" cap="none" spc="0" normalizeH="0" baseline="0" noProof="0" dirty="0" smtClean="0">
                <a:ln>
                  <a:noFill/>
                </a:ln>
                <a:solidFill>
                  <a:srgbClr val="00C9F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6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709312" y="1226719"/>
            <a:ext cx="1027132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C80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SCOVER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98787" y="3650336"/>
            <a:ext cx="860399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26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DEATION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15384" y="3650336"/>
            <a:ext cx="1180634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09C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OLUTIONING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35974" y="1226719"/>
            <a:ext cx="1484988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B69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PLEMENTATION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34788" y="3650336"/>
            <a:ext cx="1132995" cy="226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C51B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PERATION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67794" y="1226719"/>
            <a:ext cx="1147551" cy="385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C9F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ENEFI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C9F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ALIZATION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/>
              <a:t>Operational </a:t>
            </a:r>
            <a:r>
              <a:rPr lang="en-US" b="1" dirty="0" smtClean="0"/>
              <a:t>model: </a:t>
            </a:r>
            <a:r>
              <a:rPr lang="en-US" dirty="0" smtClean="0"/>
              <a:t>Process Lifecyc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53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0506" y="528773"/>
            <a:ext cx="1374775" cy="4699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DEA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559870" y="528773"/>
            <a:ext cx="1374775" cy="4699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ISCOVERY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0506" y="998673"/>
            <a:ext cx="1374775" cy="40767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559870" y="998673"/>
            <a:ext cx="1374775" cy="40767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038844" y="528773"/>
            <a:ext cx="2946505" cy="4699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OLUTIONING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038843" y="998673"/>
            <a:ext cx="2946506" cy="40767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6106445" y="528773"/>
            <a:ext cx="1422400" cy="4699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MPLEMENTATION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106445" y="998673"/>
            <a:ext cx="1422400" cy="40767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635958" y="998673"/>
            <a:ext cx="1422400" cy="40767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7030A0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61179" y="146253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RANSITION TO AUTOMAT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61178" y="2186351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ROCESS SELECT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7786" y="290836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REATE INITIAL BUSINESS CASE</a:t>
            </a:r>
            <a:endParaRPr kumimoji="0" lang="en-US" sz="95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Diamond 3"/>
          <p:cNvSpPr/>
          <p:nvPr/>
        </p:nvSpPr>
        <p:spPr>
          <a:xfrm>
            <a:off x="327422" y="3617969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6" name="Straight Arrow Connector 5"/>
          <p:cNvCxnSpPr>
            <a:stCxn id="80" idx="2"/>
            <a:endCxn id="81" idx="0"/>
          </p:cNvCxnSpPr>
          <p:nvPr/>
        </p:nvCxnSpPr>
        <p:spPr>
          <a:xfrm flipH="1">
            <a:off x="751285" y="1994162"/>
            <a:ext cx="1" cy="19218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81" idx="2"/>
            <a:endCxn id="82" idx="0"/>
          </p:cNvCxnSpPr>
          <p:nvPr/>
        </p:nvCxnSpPr>
        <p:spPr>
          <a:xfrm>
            <a:off x="751285" y="2717979"/>
            <a:ext cx="6608" cy="1903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82" idx="2"/>
            <a:endCxn id="4" idx="0"/>
          </p:cNvCxnSpPr>
          <p:nvPr/>
        </p:nvCxnSpPr>
        <p:spPr>
          <a:xfrm flipH="1">
            <a:off x="751284" y="3439990"/>
            <a:ext cx="6609" cy="1779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71010" y="4502336"/>
            <a:ext cx="761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ved?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597114" y="4455802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85" name="Straight Arrow Connector 84"/>
          <p:cNvCxnSpPr>
            <a:stCxn id="4" idx="2"/>
            <a:endCxn id="19" idx="0"/>
          </p:cNvCxnSpPr>
          <p:nvPr/>
        </p:nvCxnSpPr>
        <p:spPr>
          <a:xfrm>
            <a:off x="751284" y="4255923"/>
            <a:ext cx="2" cy="1998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332792" y="4211483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O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657150" y="120275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MAND MANAG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(PROCESS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666406" y="199170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PACITY MANAGEMENT (PEOPLE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666406" y="277120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REATION OF PDD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666406" y="351636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UPDATING OF  BUSINESS CASE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1" name="Diamond 110"/>
          <p:cNvSpPr/>
          <p:nvPr/>
        </p:nvSpPr>
        <p:spPr>
          <a:xfrm>
            <a:off x="1832650" y="4296756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12" name="Straight Arrow Connector 111"/>
          <p:cNvCxnSpPr>
            <a:stCxn id="111" idx="1"/>
            <a:endCxn id="19" idx="6"/>
          </p:cNvCxnSpPr>
          <p:nvPr/>
        </p:nvCxnSpPr>
        <p:spPr>
          <a:xfrm flipH="1">
            <a:off x="905458" y="4615733"/>
            <a:ext cx="927192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2630739" y="4399546"/>
            <a:ext cx="4158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YE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17" name="Straight Arrow Connector 116"/>
          <p:cNvCxnSpPr>
            <a:stCxn id="109" idx="2"/>
            <a:endCxn id="111" idx="0"/>
          </p:cNvCxnSpPr>
          <p:nvPr/>
        </p:nvCxnSpPr>
        <p:spPr>
          <a:xfrm flipH="1">
            <a:off x="2256512" y="4047991"/>
            <a:ext cx="1" cy="24876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>
            <a:stCxn id="108" idx="2"/>
            <a:endCxn id="109" idx="0"/>
          </p:cNvCxnSpPr>
          <p:nvPr/>
        </p:nvCxnSpPr>
        <p:spPr>
          <a:xfrm>
            <a:off x="2256513" y="3302837"/>
            <a:ext cx="0" cy="21352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>
            <a:stCxn id="107" idx="2"/>
            <a:endCxn id="108" idx="0"/>
          </p:cNvCxnSpPr>
          <p:nvPr/>
        </p:nvCxnSpPr>
        <p:spPr>
          <a:xfrm>
            <a:off x="2256513" y="2523332"/>
            <a:ext cx="0" cy="24787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>
            <a:stCxn id="89" idx="2"/>
            <a:endCxn id="107" idx="0"/>
          </p:cNvCxnSpPr>
          <p:nvPr/>
        </p:nvCxnSpPr>
        <p:spPr>
          <a:xfrm>
            <a:off x="2247257" y="1734387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>
            <a:off x="428467" y="3823473"/>
            <a:ext cx="769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ved?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539757" y="4399546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39C1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O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39C1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3159937" y="120275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MAND MANAGEMENT (DEVELOPMENT)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96" name="Elbow Connector 95"/>
          <p:cNvCxnSpPr>
            <a:stCxn id="111" idx="3"/>
            <a:endCxn id="132" idx="1"/>
          </p:cNvCxnSpPr>
          <p:nvPr/>
        </p:nvCxnSpPr>
        <p:spPr>
          <a:xfrm flipV="1">
            <a:off x="2680374" y="1468573"/>
            <a:ext cx="479563" cy="3147160"/>
          </a:xfrm>
          <a:prstGeom prst="bentConnector3">
            <a:avLst>
              <a:gd name="adj1" fmla="val 63241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129" idx="3"/>
            <a:endCxn id="89" idx="1"/>
          </p:cNvCxnSpPr>
          <p:nvPr/>
        </p:nvCxnSpPr>
        <p:spPr>
          <a:xfrm flipV="1">
            <a:off x="1197832" y="1468573"/>
            <a:ext cx="459318" cy="2462622"/>
          </a:xfrm>
          <a:prstGeom prst="bentConnector3">
            <a:avLst>
              <a:gd name="adj1" fmla="val 67143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>
          <a:xfrm>
            <a:off x="3131543" y="199931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5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EFINE PROCESS REQUIREMENTS</a:t>
            </a:r>
            <a:endParaRPr kumimoji="0" lang="en-US" sz="95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131542" y="2735027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PACITY MANAGEMENT (SYSTEM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4677487" y="194222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GILE LIFECYCLE (DEV, TEST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4678465" y="267253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UAT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57" name="Straight Arrow Connector 156"/>
          <p:cNvCxnSpPr/>
          <p:nvPr/>
        </p:nvCxnSpPr>
        <p:spPr>
          <a:xfrm>
            <a:off x="3720888" y="1741996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>
            <a:stCxn id="153" idx="2"/>
            <a:endCxn id="154" idx="0"/>
          </p:cNvCxnSpPr>
          <p:nvPr/>
        </p:nvCxnSpPr>
        <p:spPr>
          <a:xfrm flipH="1">
            <a:off x="3721649" y="2530941"/>
            <a:ext cx="1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>
            <a:stCxn id="155" idx="2"/>
            <a:endCxn id="156" idx="0"/>
          </p:cNvCxnSpPr>
          <p:nvPr/>
        </p:nvCxnSpPr>
        <p:spPr>
          <a:xfrm>
            <a:off x="5267594" y="2473850"/>
            <a:ext cx="978" cy="198684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/>
          <p:cNvSpPr/>
          <p:nvPr/>
        </p:nvSpPr>
        <p:spPr>
          <a:xfrm>
            <a:off x="6227538" y="119758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OBOT PACKAGE CREAT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6227538" y="199056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HANDOVER FOR DEPLOYMENT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6227538" y="366186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LEASE PACKAGE TO PRODUCT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6227538" y="444290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15A18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HYPERCARE PHASE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15A186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73" name="Elbow Connector 172"/>
          <p:cNvCxnSpPr>
            <a:stCxn id="156" idx="3"/>
            <a:endCxn id="168" idx="1"/>
          </p:cNvCxnSpPr>
          <p:nvPr/>
        </p:nvCxnSpPr>
        <p:spPr>
          <a:xfrm flipV="1">
            <a:off x="5858678" y="1463396"/>
            <a:ext cx="368860" cy="1474952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/>
          <p:cNvCxnSpPr>
            <a:stCxn id="168" idx="2"/>
            <a:endCxn id="170" idx="0"/>
          </p:cNvCxnSpPr>
          <p:nvPr/>
        </p:nvCxnSpPr>
        <p:spPr>
          <a:xfrm>
            <a:off x="6817645" y="1729210"/>
            <a:ext cx="0" cy="26135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/>
          <p:cNvCxnSpPr>
            <a:stCxn id="171" idx="2"/>
            <a:endCxn id="172" idx="0"/>
          </p:cNvCxnSpPr>
          <p:nvPr/>
        </p:nvCxnSpPr>
        <p:spPr>
          <a:xfrm>
            <a:off x="6817645" y="4193493"/>
            <a:ext cx="0" cy="249411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/>
          <p:cNvSpPr/>
          <p:nvPr/>
        </p:nvSpPr>
        <p:spPr>
          <a:xfrm>
            <a:off x="7757049" y="166748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FULFILL SERVICE REQUEST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7768394" y="4150457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ONITOR HEARTBEAT OF ROBOT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7030A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1" name="Oval 190"/>
          <p:cNvSpPr/>
          <p:nvPr/>
        </p:nvSpPr>
        <p:spPr>
          <a:xfrm>
            <a:off x="8192984" y="1143534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2" name="Oval 191"/>
          <p:cNvSpPr/>
          <p:nvPr/>
        </p:nvSpPr>
        <p:spPr>
          <a:xfrm>
            <a:off x="596804" y="1025796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93" name="Straight Arrow Connector 192"/>
          <p:cNvCxnSpPr>
            <a:stCxn id="192" idx="4"/>
            <a:endCxn id="80" idx="0"/>
          </p:cNvCxnSpPr>
          <p:nvPr/>
        </p:nvCxnSpPr>
        <p:spPr>
          <a:xfrm>
            <a:off x="750976" y="1345658"/>
            <a:ext cx="310" cy="11687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/>
          <p:cNvCxnSpPr>
            <a:stCxn id="191" idx="4"/>
            <a:endCxn id="189" idx="0"/>
          </p:cNvCxnSpPr>
          <p:nvPr/>
        </p:nvCxnSpPr>
        <p:spPr>
          <a:xfrm>
            <a:off x="8347156" y="1463396"/>
            <a:ext cx="0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le 204"/>
          <p:cNvSpPr/>
          <p:nvPr/>
        </p:nvSpPr>
        <p:spPr>
          <a:xfrm>
            <a:off x="4677487" y="119758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APACITY MANAGEMENT (PEOPLE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3140037" y="352053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QUEST FOR ACCESSE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10" name="Elbow Connector 209"/>
          <p:cNvCxnSpPr>
            <a:stCxn id="209" idx="3"/>
            <a:endCxn id="205" idx="1"/>
          </p:cNvCxnSpPr>
          <p:nvPr/>
        </p:nvCxnSpPr>
        <p:spPr>
          <a:xfrm flipV="1">
            <a:off x="4320250" y="1463396"/>
            <a:ext cx="357237" cy="2322956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le 213"/>
          <p:cNvSpPr/>
          <p:nvPr/>
        </p:nvSpPr>
        <p:spPr>
          <a:xfrm>
            <a:off x="3130781" y="4244036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A92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QUEST FOR INFRA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6EA92D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20" name="Straight Arrow Connector 219"/>
          <p:cNvCxnSpPr>
            <a:stCxn id="154" idx="2"/>
            <a:endCxn id="209" idx="0"/>
          </p:cNvCxnSpPr>
          <p:nvPr/>
        </p:nvCxnSpPr>
        <p:spPr>
          <a:xfrm>
            <a:off x="3721649" y="3266655"/>
            <a:ext cx="8495" cy="2538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Arrow Connector 222"/>
          <p:cNvCxnSpPr>
            <a:stCxn id="209" idx="2"/>
            <a:endCxn id="214" idx="0"/>
          </p:cNvCxnSpPr>
          <p:nvPr/>
        </p:nvCxnSpPr>
        <p:spPr>
          <a:xfrm flipH="1">
            <a:off x="3720888" y="4052166"/>
            <a:ext cx="9256" cy="19187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Arrow Connector 255"/>
          <p:cNvCxnSpPr>
            <a:stCxn id="205" idx="2"/>
            <a:endCxn id="155" idx="0"/>
          </p:cNvCxnSpPr>
          <p:nvPr/>
        </p:nvCxnSpPr>
        <p:spPr>
          <a:xfrm>
            <a:off x="5267594" y="1729210"/>
            <a:ext cx="0" cy="213012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Elbow Connector 256"/>
          <p:cNvCxnSpPr>
            <a:endCxn id="258" idx="1"/>
          </p:cNvCxnSpPr>
          <p:nvPr/>
        </p:nvCxnSpPr>
        <p:spPr>
          <a:xfrm flipV="1">
            <a:off x="4337519" y="3303535"/>
            <a:ext cx="2274304" cy="1149166"/>
          </a:xfrm>
          <a:prstGeom prst="bentConnector3">
            <a:avLst>
              <a:gd name="adj1" fmla="val 75128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Group 263"/>
          <p:cNvGrpSpPr/>
          <p:nvPr/>
        </p:nvGrpSpPr>
        <p:grpSpPr>
          <a:xfrm>
            <a:off x="6611823" y="3118116"/>
            <a:ext cx="409575" cy="369332"/>
            <a:chOff x="6544168" y="2572400"/>
            <a:chExt cx="409575" cy="369332"/>
          </a:xfrm>
        </p:grpSpPr>
        <p:sp>
          <p:nvSpPr>
            <p:cNvPr id="258" name="Diamond 257"/>
            <p:cNvSpPr/>
            <p:nvPr/>
          </p:nvSpPr>
          <p:spPr>
            <a:xfrm>
              <a:off x="6544168" y="2581344"/>
              <a:ext cx="409575" cy="352950"/>
            </a:xfrm>
            <a:prstGeom prst="diamond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6589691" y="2572400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+</a:t>
              </a:r>
            </a:p>
          </p:txBody>
        </p:sp>
      </p:grpSp>
      <p:cxnSp>
        <p:nvCxnSpPr>
          <p:cNvPr id="268" name="Straight Arrow Connector 267"/>
          <p:cNvCxnSpPr>
            <a:stCxn id="170" idx="2"/>
            <a:endCxn id="258" idx="0"/>
          </p:cNvCxnSpPr>
          <p:nvPr/>
        </p:nvCxnSpPr>
        <p:spPr>
          <a:xfrm flipH="1">
            <a:off x="6816611" y="2522191"/>
            <a:ext cx="1034" cy="6048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Arrow Connector 272"/>
          <p:cNvCxnSpPr>
            <a:stCxn id="258" idx="2"/>
            <a:endCxn id="171" idx="0"/>
          </p:cNvCxnSpPr>
          <p:nvPr/>
        </p:nvCxnSpPr>
        <p:spPr>
          <a:xfrm>
            <a:off x="6816611" y="3480010"/>
            <a:ext cx="1034" cy="18185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Oval 275"/>
          <p:cNvSpPr/>
          <p:nvPr/>
        </p:nvSpPr>
        <p:spPr>
          <a:xfrm>
            <a:off x="8205684" y="3587156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77" name="Straight Arrow Connector 276"/>
          <p:cNvCxnSpPr>
            <a:stCxn id="276" idx="4"/>
            <a:endCxn id="190" idx="0"/>
          </p:cNvCxnSpPr>
          <p:nvPr/>
        </p:nvCxnSpPr>
        <p:spPr>
          <a:xfrm flipH="1">
            <a:off x="8358501" y="3907018"/>
            <a:ext cx="1355" cy="24343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Oval 278"/>
          <p:cNvSpPr/>
          <p:nvPr/>
        </p:nvSpPr>
        <p:spPr>
          <a:xfrm>
            <a:off x="8196430" y="2539953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80" name="Elbow Connector 279"/>
          <p:cNvCxnSpPr>
            <a:stCxn id="172" idx="3"/>
            <a:endCxn id="279" idx="2"/>
          </p:cNvCxnSpPr>
          <p:nvPr/>
        </p:nvCxnSpPr>
        <p:spPr>
          <a:xfrm flipV="1">
            <a:off x="7407751" y="2699884"/>
            <a:ext cx="788679" cy="2008834"/>
          </a:xfrm>
          <a:prstGeom prst="bentConnector3">
            <a:avLst>
              <a:gd name="adj1" fmla="val 21981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Arrow Connector 285"/>
          <p:cNvCxnSpPr>
            <a:stCxn id="189" idx="2"/>
            <a:endCxn id="279" idx="0"/>
          </p:cNvCxnSpPr>
          <p:nvPr/>
        </p:nvCxnSpPr>
        <p:spPr>
          <a:xfrm>
            <a:off x="8347156" y="2199110"/>
            <a:ext cx="3446" cy="34084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tangle 287"/>
          <p:cNvSpPr/>
          <p:nvPr/>
        </p:nvSpPr>
        <p:spPr>
          <a:xfrm>
            <a:off x="7647303" y="537699"/>
            <a:ext cx="1422400" cy="4699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OPERA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7030A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7768394" y="167640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FULFILL SERVICE REQUEST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7030A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91" name="TextBox 290"/>
          <p:cNvSpPr txBox="1"/>
          <p:nvPr/>
        </p:nvSpPr>
        <p:spPr>
          <a:xfrm>
            <a:off x="1089339" y="3706045"/>
            <a:ext cx="4370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YE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0000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9" name="Google Shape;59;p14"/>
          <p:cNvSpPr txBox="1">
            <a:spLocks/>
          </p:cNvSpPr>
          <p:nvPr/>
        </p:nvSpPr>
        <p:spPr>
          <a:xfrm>
            <a:off x="80862" y="2310"/>
            <a:ext cx="8756012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OCESS LIFECYCLE High Level Map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Arco 2"/>
          <p:cNvSpPr/>
          <p:nvPr/>
        </p:nvSpPr>
        <p:spPr>
          <a:xfrm>
            <a:off x="8777859" y="4502336"/>
            <a:ext cx="135092" cy="136889"/>
          </a:xfrm>
          <a:prstGeom prst="arc">
            <a:avLst>
              <a:gd name="adj1" fmla="val 16200000"/>
              <a:gd name="adj2" fmla="val 15655480"/>
            </a:avLst>
          </a:prstGeom>
          <a:noFill/>
          <a:ln w="19050">
            <a:solidFill>
              <a:srgbClr val="C7A2E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6291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redondeado 20"/>
          <p:cNvSpPr/>
          <p:nvPr/>
        </p:nvSpPr>
        <p:spPr>
          <a:xfrm>
            <a:off x="631186" y="2500824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ángulo redondeado 21"/>
          <p:cNvSpPr/>
          <p:nvPr/>
        </p:nvSpPr>
        <p:spPr>
          <a:xfrm>
            <a:off x="631186" y="1390491"/>
            <a:ext cx="7318692" cy="972209"/>
          </a:xfrm>
          <a:prstGeom prst="roundRect">
            <a:avLst>
              <a:gd name="adj" fmla="val 0"/>
            </a:avLst>
          </a:prstGeom>
          <a:solidFill>
            <a:srgbClr val="E9F2F7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311700" y="379712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000" dirty="0">
                <a:solidFill>
                  <a:schemeClr val="accent5">
                    <a:lumMod val="50000"/>
                  </a:schemeClr>
                </a:solidFill>
              </a:rPr>
              <a:t>Index</a:t>
            </a:r>
          </a:p>
        </p:txBody>
      </p:sp>
      <p:sp>
        <p:nvSpPr>
          <p:cNvPr id="4" name="CustomShape 16"/>
          <p:cNvSpPr/>
          <p:nvPr/>
        </p:nvSpPr>
        <p:spPr>
          <a:xfrm>
            <a:off x="1271733" y="1544490"/>
            <a:ext cx="2556000" cy="650880"/>
          </a:xfrm>
          <a:prstGeom prst="rect">
            <a:avLst/>
          </a:prstGeom>
          <a:solidFill>
            <a:srgbClr val="3675A4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3080" tIns="73080" rIns="540000" bIns="73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DejaVu Sans"/>
                <a:cs typeface="+mn-cs"/>
                <a:sym typeface="Arial"/>
              </a:rPr>
              <a:t>Structure and Organizational Model</a:t>
            </a:r>
            <a:endParaRPr kumimoji="0" lang="es-ES" sz="1400" b="0" i="0" u="none" strike="noStrike" kern="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CustomShape 17"/>
          <p:cNvSpPr/>
          <p:nvPr/>
        </p:nvSpPr>
        <p:spPr>
          <a:xfrm>
            <a:off x="4226668" y="1508293"/>
            <a:ext cx="5203080" cy="7232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Sco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o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1" u="none" strike="noStrike" kern="0" cap="none" spc="-1" normalizeH="0" baseline="0" noProof="0" dirty="0" smtClean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Responsibilities</a:t>
            </a:r>
          </a:p>
        </p:txBody>
      </p:sp>
      <p:sp>
        <p:nvSpPr>
          <p:cNvPr id="9" name="CustomShape 20"/>
          <p:cNvSpPr/>
          <p:nvPr/>
        </p:nvSpPr>
        <p:spPr>
          <a:xfrm>
            <a:off x="1271733" y="2673852"/>
            <a:ext cx="2556000" cy="650880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3360" tIns="63360" rIns="540000" bIns="6408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400" b="1" i="0" u="none" strike="noStrike" kern="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  <a:cs typeface="+mn-cs"/>
                <a:sym typeface="Arial"/>
              </a:rPr>
              <a:t>Governance Model</a:t>
            </a:r>
          </a:p>
        </p:txBody>
      </p:sp>
      <p:sp>
        <p:nvSpPr>
          <p:cNvPr id="10" name="CustomShape 21"/>
          <p:cNvSpPr/>
          <p:nvPr/>
        </p:nvSpPr>
        <p:spPr>
          <a:xfrm>
            <a:off x="4248268" y="2764613"/>
            <a:ext cx="5203080" cy="4693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1" u="none" strike="noStrike" kern="0" cap="none" spc="-1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Arial"/>
                <a:ea typeface="MS PGothic"/>
                <a:cs typeface="+mn-cs"/>
                <a:sym typeface="Arial"/>
              </a:rPr>
              <a:t>Operational model</a:t>
            </a:r>
            <a:endParaRPr kumimoji="0" lang="en-US" sz="1400" b="0" i="1" u="none" strike="noStrike" kern="0" cap="none" spc="-1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MS PGothic"/>
              <a:cs typeface="+mn-cs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81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i="1" spc="-1" dirty="0" smtClean="0">
                <a:solidFill>
                  <a:schemeClr val="tx1"/>
                </a:solidFill>
                <a:latin typeface="Arial"/>
                <a:ea typeface="MS PGothic"/>
              </a:rPr>
              <a:t>Documentation</a:t>
            </a:r>
            <a:endParaRPr kumimoji="0" lang="en-US" sz="1400" b="0" i="1" u="none" strike="noStrike" kern="0" cap="none" spc="-1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MS PGothic"/>
              <a:sym typeface="Arial"/>
            </a:endParaRPr>
          </a:p>
        </p:txBody>
      </p:sp>
      <p:pic>
        <p:nvPicPr>
          <p:cNvPr id="11" name="Picture 108"/>
          <p:cNvPicPr/>
          <p:nvPr/>
        </p:nvPicPr>
        <p:blipFill>
          <a:blip r:embed="rId3"/>
          <a:stretch/>
        </p:blipFill>
        <p:spPr>
          <a:xfrm>
            <a:off x="3299253" y="2811732"/>
            <a:ext cx="432720" cy="432720"/>
          </a:xfrm>
          <a:prstGeom prst="rect">
            <a:avLst/>
          </a:prstGeom>
          <a:ln>
            <a:noFill/>
          </a:ln>
        </p:spPr>
      </p:pic>
      <p:sp>
        <p:nvSpPr>
          <p:cNvPr id="13" name="Line 25"/>
          <p:cNvSpPr/>
          <p:nvPr/>
        </p:nvSpPr>
        <p:spPr>
          <a:xfrm>
            <a:off x="1258053" y="2435780"/>
            <a:ext cx="6064959" cy="64729"/>
          </a:xfrm>
          <a:prstGeom prst="line">
            <a:avLst/>
          </a:prstGeom>
          <a:ln w="9360">
            <a:solidFill>
              <a:srgbClr val="E7E7E8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7"/>
          <p:cNvSpPr/>
          <p:nvPr/>
        </p:nvSpPr>
        <p:spPr>
          <a:xfrm>
            <a:off x="3276933" y="1692810"/>
            <a:ext cx="408600" cy="449280"/>
          </a:xfrm>
          <a:custGeom>
            <a:avLst/>
            <a:gdLst/>
            <a:ahLst/>
            <a:cxnLst/>
            <a:rect l="l" t="t" r="r" b="b"/>
            <a:pathLst>
              <a:path w="183" h="202">
                <a:moveTo>
                  <a:pt x="44" y="0"/>
                </a:moveTo>
                <a:cubicBezTo>
                  <a:pt x="45" y="1"/>
                  <a:pt x="46" y="1"/>
                  <a:pt x="46" y="1"/>
                </a:cubicBezTo>
                <a:cubicBezTo>
                  <a:pt x="65" y="6"/>
                  <a:pt x="73" y="27"/>
                  <a:pt x="63" y="43"/>
                </a:cubicBezTo>
                <a:cubicBezTo>
                  <a:pt x="62" y="44"/>
                  <a:pt x="62" y="44"/>
                  <a:pt x="63" y="45"/>
                </a:cubicBezTo>
                <a:cubicBezTo>
                  <a:pt x="67" y="49"/>
                  <a:pt x="70" y="53"/>
                  <a:pt x="73" y="57"/>
                </a:cubicBezTo>
                <a:cubicBezTo>
                  <a:pt x="74" y="57"/>
                  <a:pt x="75" y="57"/>
                  <a:pt x="76" y="57"/>
                </a:cubicBezTo>
                <a:cubicBezTo>
                  <a:pt x="89" y="49"/>
                  <a:pt x="103" y="50"/>
                  <a:pt x="114" y="60"/>
                </a:cubicBezTo>
                <a:cubicBezTo>
                  <a:pt x="115" y="61"/>
                  <a:pt x="116" y="61"/>
                  <a:pt x="117" y="60"/>
                </a:cubicBezTo>
                <a:cubicBezTo>
                  <a:pt x="125" y="52"/>
                  <a:pt x="133" y="45"/>
                  <a:pt x="141" y="38"/>
                </a:cubicBezTo>
                <a:cubicBezTo>
                  <a:pt x="142" y="37"/>
                  <a:pt x="143" y="36"/>
                  <a:pt x="142" y="35"/>
                </a:cubicBezTo>
                <a:cubicBezTo>
                  <a:pt x="139" y="25"/>
                  <a:pt x="144" y="16"/>
                  <a:pt x="153" y="14"/>
                </a:cubicBezTo>
                <a:cubicBezTo>
                  <a:pt x="162" y="11"/>
                  <a:pt x="172" y="18"/>
                  <a:pt x="173" y="27"/>
                </a:cubicBezTo>
                <a:cubicBezTo>
                  <a:pt x="174" y="36"/>
                  <a:pt x="168" y="45"/>
                  <a:pt x="158" y="45"/>
                </a:cubicBezTo>
                <a:cubicBezTo>
                  <a:pt x="154" y="45"/>
                  <a:pt x="151" y="44"/>
                  <a:pt x="148" y="42"/>
                </a:cubicBezTo>
                <a:cubicBezTo>
                  <a:pt x="147" y="42"/>
                  <a:pt x="147" y="41"/>
                  <a:pt x="146" y="42"/>
                </a:cubicBezTo>
                <a:cubicBezTo>
                  <a:pt x="138" y="50"/>
                  <a:pt x="129" y="57"/>
                  <a:pt x="121" y="65"/>
                </a:cubicBezTo>
                <a:cubicBezTo>
                  <a:pt x="120" y="65"/>
                  <a:pt x="120" y="66"/>
                  <a:pt x="120" y="67"/>
                </a:cubicBezTo>
                <a:cubicBezTo>
                  <a:pt x="127" y="79"/>
                  <a:pt x="127" y="91"/>
                  <a:pt x="119" y="103"/>
                </a:cubicBezTo>
                <a:cubicBezTo>
                  <a:pt x="126" y="107"/>
                  <a:pt x="133" y="112"/>
                  <a:pt x="140" y="117"/>
                </a:cubicBezTo>
                <a:cubicBezTo>
                  <a:pt x="140" y="117"/>
                  <a:pt x="141" y="117"/>
                  <a:pt x="141" y="117"/>
                </a:cubicBezTo>
                <a:cubicBezTo>
                  <a:pt x="149" y="109"/>
                  <a:pt x="159" y="107"/>
                  <a:pt x="169" y="112"/>
                </a:cubicBezTo>
                <a:cubicBezTo>
                  <a:pt x="176" y="115"/>
                  <a:pt x="181" y="121"/>
                  <a:pt x="182" y="129"/>
                </a:cubicBezTo>
                <a:cubicBezTo>
                  <a:pt x="182" y="130"/>
                  <a:pt x="182" y="130"/>
                  <a:pt x="183" y="130"/>
                </a:cubicBezTo>
                <a:cubicBezTo>
                  <a:pt x="183" y="132"/>
                  <a:pt x="183" y="135"/>
                  <a:pt x="183" y="137"/>
                </a:cubicBezTo>
                <a:cubicBezTo>
                  <a:pt x="182" y="137"/>
                  <a:pt x="182" y="138"/>
                  <a:pt x="182" y="139"/>
                </a:cubicBezTo>
                <a:cubicBezTo>
                  <a:pt x="180" y="149"/>
                  <a:pt x="171" y="156"/>
                  <a:pt x="161" y="157"/>
                </a:cubicBezTo>
                <a:cubicBezTo>
                  <a:pt x="143" y="158"/>
                  <a:pt x="130" y="141"/>
                  <a:pt x="137" y="124"/>
                </a:cubicBezTo>
                <a:cubicBezTo>
                  <a:pt x="137" y="123"/>
                  <a:pt x="137" y="123"/>
                  <a:pt x="136" y="122"/>
                </a:cubicBezTo>
                <a:cubicBezTo>
                  <a:pt x="130" y="118"/>
                  <a:pt x="124" y="114"/>
                  <a:pt x="119" y="110"/>
                </a:cubicBezTo>
                <a:cubicBezTo>
                  <a:pt x="116" y="108"/>
                  <a:pt x="116" y="108"/>
                  <a:pt x="117" y="106"/>
                </a:cubicBezTo>
                <a:cubicBezTo>
                  <a:pt x="118" y="105"/>
                  <a:pt x="118" y="105"/>
                  <a:pt x="118" y="104"/>
                </a:cubicBezTo>
                <a:cubicBezTo>
                  <a:pt x="118" y="104"/>
                  <a:pt x="118" y="104"/>
                  <a:pt x="119" y="104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17" y="104"/>
                  <a:pt x="117" y="105"/>
                  <a:pt x="117" y="105"/>
                </a:cubicBezTo>
                <a:cubicBezTo>
                  <a:pt x="111" y="111"/>
                  <a:pt x="105" y="114"/>
                  <a:pt x="98" y="115"/>
                </a:cubicBezTo>
                <a:cubicBezTo>
                  <a:pt x="96" y="115"/>
                  <a:pt x="96" y="116"/>
                  <a:pt x="96" y="117"/>
                </a:cubicBezTo>
                <a:cubicBezTo>
                  <a:pt x="96" y="132"/>
                  <a:pt x="96" y="146"/>
                  <a:pt x="96" y="161"/>
                </a:cubicBezTo>
                <a:cubicBezTo>
                  <a:pt x="96" y="163"/>
                  <a:pt x="97" y="164"/>
                  <a:pt x="99" y="165"/>
                </a:cubicBezTo>
                <a:cubicBezTo>
                  <a:pt x="107" y="167"/>
                  <a:pt x="111" y="173"/>
                  <a:pt x="112" y="180"/>
                </a:cubicBezTo>
                <a:cubicBezTo>
                  <a:pt x="113" y="189"/>
                  <a:pt x="110" y="195"/>
                  <a:pt x="102" y="200"/>
                </a:cubicBezTo>
                <a:cubicBezTo>
                  <a:pt x="101" y="201"/>
                  <a:pt x="98" y="201"/>
                  <a:pt x="96" y="202"/>
                </a:cubicBezTo>
                <a:cubicBezTo>
                  <a:pt x="95" y="202"/>
                  <a:pt x="94" y="202"/>
                  <a:pt x="93" y="202"/>
                </a:cubicBezTo>
                <a:cubicBezTo>
                  <a:pt x="92" y="202"/>
                  <a:pt x="92" y="202"/>
                  <a:pt x="92" y="202"/>
                </a:cubicBezTo>
                <a:cubicBezTo>
                  <a:pt x="91" y="202"/>
                  <a:pt x="90" y="202"/>
                  <a:pt x="90" y="202"/>
                </a:cubicBezTo>
                <a:cubicBezTo>
                  <a:pt x="89" y="201"/>
                  <a:pt x="88" y="201"/>
                  <a:pt x="87" y="201"/>
                </a:cubicBezTo>
                <a:cubicBezTo>
                  <a:pt x="80" y="198"/>
                  <a:pt x="76" y="194"/>
                  <a:pt x="74" y="186"/>
                </a:cubicBezTo>
                <a:cubicBezTo>
                  <a:pt x="72" y="176"/>
                  <a:pt x="78" y="167"/>
                  <a:pt x="88" y="164"/>
                </a:cubicBezTo>
                <a:cubicBezTo>
                  <a:pt x="89" y="164"/>
                  <a:pt x="90" y="164"/>
                  <a:pt x="90" y="162"/>
                </a:cubicBezTo>
                <a:cubicBezTo>
                  <a:pt x="90" y="147"/>
                  <a:pt x="90" y="132"/>
                  <a:pt x="90" y="117"/>
                </a:cubicBezTo>
                <a:cubicBezTo>
                  <a:pt x="90" y="116"/>
                  <a:pt x="90" y="115"/>
                  <a:pt x="89" y="115"/>
                </a:cubicBezTo>
                <a:cubicBezTo>
                  <a:pt x="81" y="114"/>
                  <a:pt x="75" y="111"/>
                  <a:pt x="70" y="106"/>
                </a:cubicBezTo>
                <a:cubicBezTo>
                  <a:pt x="69" y="105"/>
                  <a:pt x="69" y="105"/>
                  <a:pt x="68" y="106"/>
                </a:cubicBezTo>
                <a:cubicBezTo>
                  <a:pt x="60" y="112"/>
                  <a:pt x="51" y="118"/>
                  <a:pt x="42" y="125"/>
                </a:cubicBezTo>
                <a:cubicBezTo>
                  <a:pt x="41" y="125"/>
                  <a:pt x="41" y="126"/>
                  <a:pt x="42" y="126"/>
                </a:cubicBezTo>
                <a:cubicBezTo>
                  <a:pt x="43" y="128"/>
                  <a:pt x="44" y="130"/>
                  <a:pt x="44" y="132"/>
                </a:cubicBezTo>
                <a:cubicBezTo>
                  <a:pt x="48" y="143"/>
                  <a:pt x="41" y="155"/>
                  <a:pt x="31" y="159"/>
                </a:cubicBezTo>
                <a:cubicBezTo>
                  <a:pt x="20" y="163"/>
                  <a:pt x="9" y="159"/>
                  <a:pt x="3" y="148"/>
                </a:cubicBezTo>
                <a:cubicBezTo>
                  <a:pt x="2" y="146"/>
                  <a:pt x="2" y="144"/>
                  <a:pt x="0" y="142"/>
                </a:cubicBezTo>
                <a:cubicBezTo>
                  <a:pt x="0" y="141"/>
                  <a:pt x="0" y="141"/>
                  <a:pt x="0" y="141"/>
                </a:cubicBezTo>
                <a:cubicBezTo>
                  <a:pt x="1" y="140"/>
                  <a:pt x="1" y="140"/>
                  <a:pt x="0" y="139"/>
                </a:cubicBezTo>
                <a:cubicBezTo>
                  <a:pt x="0" y="138"/>
                  <a:pt x="0" y="138"/>
                  <a:pt x="0" y="137"/>
                </a:cubicBezTo>
                <a:cubicBezTo>
                  <a:pt x="1" y="136"/>
                  <a:pt x="1" y="136"/>
                  <a:pt x="0" y="135"/>
                </a:cubicBezTo>
                <a:cubicBezTo>
                  <a:pt x="0" y="135"/>
                  <a:pt x="0" y="135"/>
                  <a:pt x="0" y="134"/>
                </a:cubicBezTo>
                <a:cubicBezTo>
                  <a:pt x="1" y="133"/>
                  <a:pt x="1" y="132"/>
                  <a:pt x="2" y="131"/>
                </a:cubicBezTo>
                <a:cubicBezTo>
                  <a:pt x="6" y="117"/>
                  <a:pt x="24" y="111"/>
                  <a:pt x="36" y="120"/>
                </a:cubicBezTo>
                <a:cubicBezTo>
                  <a:pt x="37" y="120"/>
                  <a:pt x="37" y="120"/>
                  <a:pt x="38" y="120"/>
                </a:cubicBezTo>
                <a:cubicBezTo>
                  <a:pt x="47" y="113"/>
                  <a:pt x="55" y="107"/>
                  <a:pt x="64" y="101"/>
                </a:cubicBezTo>
                <a:cubicBezTo>
                  <a:pt x="65" y="100"/>
                  <a:pt x="65" y="99"/>
                  <a:pt x="65" y="98"/>
                </a:cubicBezTo>
                <a:cubicBezTo>
                  <a:pt x="59" y="86"/>
                  <a:pt x="60" y="74"/>
                  <a:pt x="69" y="63"/>
                </a:cubicBezTo>
                <a:cubicBezTo>
                  <a:pt x="69" y="62"/>
                  <a:pt x="70" y="62"/>
                  <a:pt x="69" y="61"/>
                </a:cubicBezTo>
                <a:cubicBezTo>
                  <a:pt x="65" y="57"/>
                  <a:pt x="62" y="53"/>
                  <a:pt x="59" y="50"/>
                </a:cubicBezTo>
                <a:cubicBezTo>
                  <a:pt x="58" y="49"/>
                  <a:pt x="57" y="49"/>
                  <a:pt x="56" y="49"/>
                </a:cubicBezTo>
                <a:cubicBezTo>
                  <a:pt x="50" y="54"/>
                  <a:pt x="44" y="56"/>
                  <a:pt x="36" y="54"/>
                </a:cubicBezTo>
                <a:cubicBezTo>
                  <a:pt x="24" y="53"/>
                  <a:pt x="14" y="42"/>
                  <a:pt x="13" y="30"/>
                </a:cubicBezTo>
                <a:cubicBezTo>
                  <a:pt x="12" y="16"/>
                  <a:pt x="22" y="5"/>
                  <a:pt x="33" y="2"/>
                </a:cubicBezTo>
                <a:cubicBezTo>
                  <a:pt x="34" y="1"/>
                  <a:pt x="35" y="1"/>
                  <a:pt x="36" y="0"/>
                </a:cubicBezTo>
                <a:cubicBezTo>
                  <a:pt x="37" y="0"/>
                  <a:pt x="38" y="0"/>
                  <a:pt x="38" y="0"/>
                </a:cubicBezTo>
                <a:cubicBezTo>
                  <a:pt x="38" y="1"/>
                  <a:pt x="39" y="1"/>
                  <a:pt x="39" y="0"/>
                </a:cubicBezTo>
                <a:cubicBezTo>
                  <a:pt x="40" y="0"/>
                  <a:pt x="41" y="0"/>
                  <a:pt x="42" y="0"/>
                </a:cubicBezTo>
                <a:cubicBezTo>
                  <a:pt x="42" y="1"/>
                  <a:pt x="43" y="1"/>
                  <a:pt x="43" y="0"/>
                </a:cubicBezTo>
                <a:cubicBezTo>
                  <a:pt x="44" y="0"/>
                  <a:pt x="44" y="0"/>
                  <a:pt x="44" y="0"/>
                </a:cubicBezTo>
                <a:close/>
                <a:moveTo>
                  <a:pt x="119" y="84"/>
                </a:moveTo>
                <a:cubicBezTo>
                  <a:pt x="119" y="69"/>
                  <a:pt x="107" y="58"/>
                  <a:pt x="93" y="58"/>
                </a:cubicBezTo>
                <a:cubicBezTo>
                  <a:pt x="79" y="58"/>
                  <a:pt x="68" y="69"/>
                  <a:pt x="68" y="84"/>
                </a:cubicBezTo>
                <a:cubicBezTo>
                  <a:pt x="68" y="98"/>
                  <a:pt x="79" y="109"/>
                  <a:pt x="93" y="109"/>
                </a:cubicBezTo>
                <a:cubicBezTo>
                  <a:pt x="107" y="109"/>
                  <a:pt x="119" y="98"/>
                  <a:pt x="119" y="84"/>
                </a:cubicBezTo>
                <a:close/>
                <a:moveTo>
                  <a:pt x="61" y="28"/>
                </a:moveTo>
                <a:cubicBezTo>
                  <a:pt x="61" y="16"/>
                  <a:pt x="52" y="7"/>
                  <a:pt x="40" y="7"/>
                </a:cubicBezTo>
                <a:cubicBezTo>
                  <a:pt x="29" y="7"/>
                  <a:pt x="20" y="16"/>
                  <a:pt x="20" y="28"/>
                </a:cubicBezTo>
                <a:cubicBezTo>
                  <a:pt x="20" y="39"/>
                  <a:pt x="29" y="48"/>
                  <a:pt x="40" y="48"/>
                </a:cubicBezTo>
                <a:cubicBezTo>
                  <a:pt x="52" y="48"/>
                  <a:pt x="61" y="39"/>
                  <a:pt x="61" y="28"/>
                </a:cubicBezTo>
                <a:close/>
                <a:moveTo>
                  <a:pt x="141" y="133"/>
                </a:moveTo>
                <a:cubicBezTo>
                  <a:pt x="141" y="143"/>
                  <a:pt x="149" y="151"/>
                  <a:pt x="159" y="151"/>
                </a:cubicBezTo>
                <a:cubicBezTo>
                  <a:pt x="169" y="151"/>
                  <a:pt x="176" y="143"/>
                  <a:pt x="176" y="133"/>
                </a:cubicBezTo>
                <a:cubicBezTo>
                  <a:pt x="176" y="123"/>
                  <a:pt x="168" y="116"/>
                  <a:pt x="159" y="116"/>
                </a:cubicBezTo>
                <a:cubicBezTo>
                  <a:pt x="149" y="116"/>
                  <a:pt x="141" y="123"/>
                  <a:pt x="141" y="133"/>
                </a:cubicBezTo>
                <a:close/>
                <a:moveTo>
                  <a:pt x="39" y="138"/>
                </a:moveTo>
                <a:cubicBezTo>
                  <a:pt x="39" y="129"/>
                  <a:pt x="32" y="122"/>
                  <a:pt x="23" y="122"/>
                </a:cubicBezTo>
                <a:cubicBezTo>
                  <a:pt x="14" y="122"/>
                  <a:pt x="7" y="129"/>
                  <a:pt x="7" y="138"/>
                </a:cubicBezTo>
                <a:cubicBezTo>
                  <a:pt x="7" y="147"/>
                  <a:pt x="14" y="154"/>
                  <a:pt x="23" y="154"/>
                </a:cubicBezTo>
                <a:cubicBezTo>
                  <a:pt x="31" y="154"/>
                  <a:pt x="39" y="147"/>
                  <a:pt x="39" y="138"/>
                </a:cubicBezTo>
                <a:close/>
                <a:moveTo>
                  <a:pt x="93" y="170"/>
                </a:moveTo>
                <a:cubicBezTo>
                  <a:pt x="86" y="170"/>
                  <a:pt x="80" y="176"/>
                  <a:pt x="80" y="183"/>
                </a:cubicBezTo>
                <a:cubicBezTo>
                  <a:pt x="80" y="190"/>
                  <a:pt x="86" y="196"/>
                  <a:pt x="93" y="196"/>
                </a:cubicBezTo>
                <a:cubicBezTo>
                  <a:pt x="100" y="196"/>
                  <a:pt x="106" y="190"/>
                  <a:pt x="106" y="183"/>
                </a:cubicBezTo>
                <a:cubicBezTo>
                  <a:pt x="106" y="176"/>
                  <a:pt x="100" y="170"/>
                  <a:pt x="93" y="170"/>
                </a:cubicBezTo>
                <a:close/>
                <a:moveTo>
                  <a:pt x="157" y="39"/>
                </a:moveTo>
                <a:cubicBezTo>
                  <a:pt x="162" y="39"/>
                  <a:pt x="167" y="35"/>
                  <a:pt x="167" y="29"/>
                </a:cubicBezTo>
                <a:cubicBezTo>
                  <a:pt x="167" y="24"/>
                  <a:pt x="162" y="20"/>
                  <a:pt x="157" y="20"/>
                </a:cubicBezTo>
                <a:cubicBezTo>
                  <a:pt x="152" y="20"/>
                  <a:pt x="148" y="24"/>
                  <a:pt x="148" y="29"/>
                </a:cubicBezTo>
                <a:cubicBezTo>
                  <a:pt x="148" y="35"/>
                  <a:pt x="152" y="39"/>
                  <a:pt x="157" y="39"/>
                </a:cubicBezTo>
                <a:close/>
              </a:path>
            </a:pathLst>
          </a:custGeom>
          <a:solidFill>
            <a:srgbClr val="00324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ángulo 14"/>
          <p:cNvSpPr/>
          <p:nvPr/>
        </p:nvSpPr>
        <p:spPr>
          <a:xfrm>
            <a:off x="626095" y="1608320"/>
            <a:ext cx="6222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1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06859" y="2737682"/>
            <a:ext cx="660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3675A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.2</a:t>
            </a:r>
            <a:endParaRPr kumimoji="0" lang="es-ES" sz="2800" b="0" i="0" u="none" strike="noStrike" kern="0" cap="none" spc="0" normalizeH="0" baseline="0" noProof="0" dirty="0">
              <a:ln>
                <a:noFill/>
              </a:ln>
              <a:solidFill>
                <a:srgbClr val="3675A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445025" y="1221051"/>
            <a:ext cx="7691014" cy="12044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7925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429509" y="293910"/>
            <a:ext cx="8255871" cy="461635"/>
          </a:xfrm>
        </p:spPr>
        <p:txBody>
          <a:bodyPr/>
          <a:lstStyle/>
          <a:p>
            <a:r>
              <a:rPr lang="en-US" b="1" dirty="0" smtClean="0"/>
              <a:t>CoE Documentation: “</a:t>
            </a:r>
            <a:r>
              <a:rPr lang="en-US" dirty="0" smtClean="0"/>
              <a:t>Support </a:t>
            </a:r>
            <a:r>
              <a:rPr lang="en-US" dirty="0"/>
              <a:t>and </a:t>
            </a:r>
            <a:r>
              <a:rPr lang="en-US" dirty="0" smtClean="0"/>
              <a:t>Operations Model – Guidelines Kit”</a:t>
            </a:r>
            <a:endParaRPr lang="en-U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9097" y="979059"/>
            <a:ext cx="2306511" cy="32423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CuadroTexto 2"/>
          <p:cNvSpPr txBox="1"/>
          <p:nvPr/>
        </p:nvSpPr>
        <p:spPr>
          <a:xfrm>
            <a:off x="1206708" y="1753849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Rectángulo 3"/>
          <p:cNvSpPr/>
          <p:nvPr/>
        </p:nvSpPr>
        <p:spPr>
          <a:xfrm>
            <a:off x="831954" y="1215238"/>
            <a:ext cx="389744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>
                <a:cs typeface="Arial" panose="020B0604020202020204" pitchFamily="34" charset="0"/>
              </a:rPr>
              <a:t>The main goal of this </a:t>
            </a:r>
            <a:r>
              <a:rPr lang="en-GB" dirty="0" smtClean="0">
                <a:cs typeface="Arial" panose="020B0604020202020204" pitchFamily="34" charset="0"/>
              </a:rPr>
              <a:t>document </a:t>
            </a:r>
            <a:r>
              <a:rPr lang="en-GB" dirty="0">
                <a:cs typeface="Arial" panose="020B0604020202020204" pitchFamily="34" charset="0"/>
              </a:rPr>
              <a:t>is to present the </a:t>
            </a:r>
            <a:r>
              <a:rPr lang="en-GB" dirty="0" smtClean="0">
                <a:cs typeface="Arial" panose="020B0604020202020204" pitchFamily="34" charset="0"/>
              </a:rPr>
              <a:t>guidelines </a:t>
            </a:r>
            <a:r>
              <a:rPr lang="en-GB" dirty="0">
                <a:cs typeface="Arial" panose="020B0604020202020204" pitchFamily="34" charset="0"/>
              </a:rPr>
              <a:t>applicable to the </a:t>
            </a:r>
            <a:r>
              <a:rPr lang="en-GB" b="1" dirty="0">
                <a:cs typeface="Arial" panose="020B0604020202020204" pitchFamily="34" charset="0"/>
              </a:rPr>
              <a:t>RPA </a:t>
            </a:r>
            <a:r>
              <a:rPr lang="en-GB" b="1" dirty="0" smtClean="0">
                <a:cs typeface="Arial" panose="020B0604020202020204" pitchFamily="34" charset="0"/>
              </a:rPr>
              <a:t>Level </a:t>
            </a:r>
            <a:r>
              <a:rPr lang="en-GB" b="1" dirty="0">
                <a:cs typeface="Arial" panose="020B0604020202020204" pitchFamily="34" charset="0"/>
              </a:rPr>
              <a:t>2 Support &amp; Operations</a:t>
            </a:r>
            <a:r>
              <a:rPr lang="en-GB" dirty="0">
                <a:cs typeface="Arial" panose="020B0604020202020204" pitchFamily="34" charset="0"/>
              </a:rPr>
              <a:t> service, necessary to fulfil the Business expectations</a:t>
            </a:r>
            <a:r>
              <a:rPr lang="en-GB" dirty="0" smtClean="0"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GB" dirty="0" smtClean="0">
                <a:effectLst/>
                <a:cs typeface="Arial" panose="020B0604020202020204" pitchFamily="34" charset="0"/>
              </a:rPr>
              <a:t>This include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cs typeface="Arial" panose="020B0604020202020204" pitchFamily="34" charset="0"/>
              </a:rPr>
              <a:t>How it relates to L1 &amp; L3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cs typeface="Arial" panose="020B0604020202020204" pitchFamily="34" charset="0"/>
              </a:rPr>
              <a:t>Remedy Service Catalogu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effectLst/>
                <a:cs typeface="Arial" panose="020B0604020202020204" pitchFamily="34" charset="0"/>
              </a:rPr>
              <a:t>Calculation of SLA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cs typeface="Arial" panose="020B0604020202020204" pitchFamily="34" charset="0"/>
              </a:rPr>
              <a:t>Roles &amp; Responsibilities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557629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97;p8"/>
          <p:cNvSpPr/>
          <p:nvPr/>
        </p:nvSpPr>
        <p:spPr>
          <a:xfrm>
            <a:off x="1073648" y="4503912"/>
            <a:ext cx="3493493" cy="527981"/>
          </a:xfrm>
          <a:custGeom>
            <a:avLst/>
            <a:gdLst/>
            <a:ahLst/>
            <a:cxnLst/>
            <a:rect l="l" t="t" r="r" b="b"/>
            <a:pathLst>
              <a:path w="1775" h="437" extrusionOk="0">
                <a:moveTo>
                  <a:pt x="111" y="287"/>
                </a:moveTo>
                <a:cubicBezTo>
                  <a:pt x="109" y="290"/>
                  <a:pt x="108" y="290"/>
                  <a:pt x="106" y="289"/>
                </a:cubicBezTo>
                <a:cubicBezTo>
                  <a:pt x="107" y="288"/>
                  <a:pt x="108" y="287"/>
                  <a:pt x="109" y="285"/>
                </a:cubicBezTo>
                <a:lnTo>
                  <a:pt x="109" y="284"/>
                </a:lnTo>
                <a:lnTo>
                  <a:pt x="111" y="287"/>
                </a:lnTo>
                <a:close/>
                <a:moveTo>
                  <a:pt x="44" y="286"/>
                </a:moveTo>
                <a:cubicBezTo>
                  <a:pt x="46" y="284"/>
                  <a:pt x="48" y="281"/>
                  <a:pt x="50" y="278"/>
                </a:cubicBezTo>
                <a:cubicBezTo>
                  <a:pt x="53" y="279"/>
                  <a:pt x="54" y="281"/>
                  <a:pt x="53" y="283"/>
                </a:cubicBezTo>
                <a:cubicBezTo>
                  <a:pt x="52" y="281"/>
                  <a:pt x="48" y="284"/>
                  <a:pt x="44" y="286"/>
                </a:cubicBezTo>
                <a:close/>
                <a:moveTo>
                  <a:pt x="58" y="269"/>
                </a:moveTo>
                <a:lnTo>
                  <a:pt x="58" y="268"/>
                </a:lnTo>
                <a:lnTo>
                  <a:pt x="61" y="264"/>
                </a:lnTo>
                <a:lnTo>
                  <a:pt x="58" y="269"/>
                </a:lnTo>
                <a:close/>
                <a:moveTo>
                  <a:pt x="237" y="99"/>
                </a:moveTo>
                <a:cubicBezTo>
                  <a:pt x="228" y="104"/>
                  <a:pt x="238" y="109"/>
                  <a:pt x="239" y="115"/>
                </a:cubicBezTo>
                <a:cubicBezTo>
                  <a:pt x="230" y="124"/>
                  <a:pt x="230" y="112"/>
                  <a:pt x="224" y="110"/>
                </a:cubicBezTo>
                <a:cubicBezTo>
                  <a:pt x="219" y="117"/>
                  <a:pt x="219" y="128"/>
                  <a:pt x="214" y="130"/>
                </a:cubicBezTo>
                <a:cubicBezTo>
                  <a:pt x="213" y="129"/>
                  <a:pt x="211" y="129"/>
                  <a:pt x="211" y="127"/>
                </a:cubicBezTo>
                <a:cubicBezTo>
                  <a:pt x="209" y="138"/>
                  <a:pt x="191" y="141"/>
                  <a:pt x="189" y="154"/>
                </a:cubicBezTo>
                <a:lnTo>
                  <a:pt x="187" y="153"/>
                </a:lnTo>
                <a:cubicBezTo>
                  <a:pt x="191" y="156"/>
                  <a:pt x="194" y="160"/>
                  <a:pt x="196" y="163"/>
                </a:cubicBezTo>
                <a:cubicBezTo>
                  <a:pt x="192" y="166"/>
                  <a:pt x="192" y="173"/>
                  <a:pt x="187" y="169"/>
                </a:cubicBezTo>
                <a:cubicBezTo>
                  <a:pt x="189" y="168"/>
                  <a:pt x="188" y="165"/>
                  <a:pt x="188" y="163"/>
                </a:cubicBezTo>
                <a:lnTo>
                  <a:pt x="186" y="168"/>
                </a:lnTo>
                <a:cubicBezTo>
                  <a:pt x="177" y="163"/>
                  <a:pt x="189" y="162"/>
                  <a:pt x="185" y="156"/>
                </a:cubicBezTo>
                <a:cubicBezTo>
                  <a:pt x="179" y="164"/>
                  <a:pt x="175" y="177"/>
                  <a:pt x="167" y="179"/>
                </a:cubicBezTo>
                <a:cubicBezTo>
                  <a:pt x="161" y="172"/>
                  <a:pt x="179" y="166"/>
                  <a:pt x="167" y="165"/>
                </a:cubicBezTo>
                <a:lnTo>
                  <a:pt x="178" y="162"/>
                </a:lnTo>
                <a:cubicBezTo>
                  <a:pt x="163" y="155"/>
                  <a:pt x="184" y="159"/>
                  <a:pt x="169" y="151"/>
                </a:cubicBezTo>
                <a:cubicBezTo>
                  <a:pt x="155" y="157"/>
                  <a:pt x="158" y="164"/>
                  <a:pt x="144" y="171"/>
                </a:cubicBezTo>
                <a:cubicBezTo>
                  <a:pt x="145" y="177"/>
                  <a:pt x="150" y="176"/>
                  <a:pt x="150" y="182"/>
                </a:cubicBezTo>
                <a:cubicBezTo>
                  <a:pt x="139" y="202"/>
                  <a:pt x="123" y="175"/>
                  <a:pt x="118" y="194"/>
                </a:cubicBezTo>
                <a:cubicBezTo>
                  <a:pt x="118" y="201"/>
                  <a:pt x="124" y="211"/>
                  <a:pt x="112" y="213"/>
                </a:cubicBezTo>
                <a:lnTo>
                  <a:pt x="108" y="203"/>
                </a:lnTo>
                <a:cubicBezTo>
                  <a:pt x="97" y="212"/>
                  <a:pt x="111" y="220"/>
                  <a:pt x="95" y="225"/>
                </a:cubicBezTo>
                <a:cubicBezTo>
                  <a:pt x="95" y="220"/>
                  <a:pt x="102" y="214"/>
                  <a:pt x="99" y="215"/>
                </a:cubicBezTo>
                <a:cubicBezTo>
                  <a:pt x="87" y="215"/>
                  <a:pt x="98" y="224"/>
                  <a:pt x="92" y="229"/>
                </a:cubicBezTo>
                <a:lnTo>
                  <a:pt x="85" y="223"/>
                </a:lnTo>
                <a:cubicBezTo>
                  <a:pt x="74" y="235"/>
                  <a:pt x="66" y="252"/>
                  <a:pt x="56" y="267"/>
                </a:cubicBezTo>
                <a:cubicBezTo>
                  <a:pt x="54" y="264"/>
                  <a:pt x="54" y="260"/>
                  <a:pt x="49" y="262"/>
                </a:cubicBezTo>
                <a:cubicBezTo>
                  <a:pt x="38" y="282"/>
                  <a:pt x="17" y="300"/>
                  <a:pt x="4" y="328"/>
                </a:cubicBezTo>
                <a:cubicBezTo>
                  <a:pt x="5" y="332"/>
                  <a:pt x="7" y="336"/>
                  <a:pt x="9" y="340"/>
                </a:cubicBezTo>
                <a:cubicBezTo>
                  <a:pt x="9" y="343"/>
                  <a:pt x="5" y="345"/>
                  <a:pt x="4" y="342"/>
                </a:cubicBezTo>
                <a:cubicBezTo>
                  <a:pt x="0" y="354"/>
                  <a:pt x="9" y="343"/>
                  <a:pt x="11" y="349"/>
                </a:cubicBezTo>
                <a:cubicBezTo>
                  <a:pt x="12" y="355"/>
                  <a:pt x="7" y="358"/>
                  <a:pt x="4" y="353"/>
                </a:cubicBezTo>
                <a:cubicBezTo>
                  <a:pt x="8" y="366"/>
                  <a:pt x="16" y="383"/>
                  <a:pt x="27" y="395"/>
                </a:cubicBezTo>
                <a:lnTo>
                  <a:pt x="25" y="393"/>
                </a:lnTo>
                <a:cubicBezTo>
                  <a:pt x="32" y="405"/>
                  <a:pt x="42" y="414"/>
                  <a:pt x="49" y="422"/>
                </a:cubicBezTo>
                <a:lnTo>
                  <a:pt x="44" y="422"/>
                </a:lnTo>
                <a:cubicBezTo>
                  <a:pt x="51" y="428"/>
                  <a:pt x="58" y="426"/>
                  <a:pt x="63" y="425"/>
                </a:cubicBezTo>
                <a:cubicBezTo>
                  <a:pt x="68" y="423"/>
                  <a:pt x="72" y="421"/>
                  <a:pt x="78" y="426"/>
                </a:cubicBezTo>
                <a:lnTo>
                  <a:pt x="75" y="427"/>
                </a:lnTo>
                <a:cubicBezTo>
                  <a:pt x="106" y="437"/>
                  <a:pt x="135" y="425"/>
                  <a:pt x="156" y="433"/>
                </a:cubicBezTo>
                <a:cubicBezTo>
                  <a:pt x="158" y="421"/>
                  <a:pt x="183" y="432"/>
                  <a:pt x="181" y="417"/>
                </a:cubicBezTo>
                <a:cubicBezTo>
                  <a:pt x="197" y="420"/>
                  <a:pt x="194" y="424"/>
                  <a:pt x="216" y="424"/>
                </a:cubicBezTo>
                <a:cubicBezTo>
                  <a:pt x="221" y="423"/>
                  <a:pt x="221" y="412"/>
                  <a:pt x="227" y="408"/>
                </a:cubicBezTo>
                <a:lnTo>
                  <a:pt x="229" y="416"/>
                </a:lnTo>
                <a:lnTo>
                  <a:pt x="235" y="405"/>
                </a:lnTo>
                <a:lnTo>
                  <a:pt x="243" y="413"/>
                </a:lnTo>
                <a:lnTo>
                  <a:pt x="248" y="409"/>
                </a:lnTo>
                <a:cubicBezTo>
                  <a:pt x="246" y="409"/>
                  <a:pt x="242" y="407"/>
                  <a:pt x="242" y="405"/>
                </a:cubicBezTo>
                <a:cubicBezTo>
                  <a:pt x="250" y="398"/>
                  <a:pt x="266" y="402"/>
                  <a:pt x="268" y="406"/>
                </a:cubicBezTo>
                <a:lnTo>
                  <a:pt x="288" y="392"/>
                </a:lnTo>
                <a:cubicBezTo>
                  <a:pt x="288" y="395"/>
                  <a:pt x="285" y="397"/>
                  <a:pt x="283" y="400"/>
                </a:cubicBezTo>
                <a:cubicBezTo>
                  <a:pt x="292" y="388"/>
                  <a:pt x="288" y="408"/>
                  <a:pt x="296" y="397"/>
                </a:cubicBezTo>
                <a:cubicBezTo>
                  <a:pt x="294" y="395"/>
                  <a:pt x="295" y="392"/>
                  <a:pt x="295" y="390"/>
                </a:cubicBezTo>
                <a:cubicBezTo>
                  <a:pt x="302" y="393"/>
                  <a:pt x="314" y="388"/>
                  <a:pt x="322" y="383"/>
                </a:cubicBezTo>
                <a:lnTo>
                  <a:pt x="322" y="389"/>
                </a:lnTo>
                <a:cubicBezTo>
                  <a:pt x="339" y="383"/>
                  <a:pt x="355" y="372"/>
                  <a:pt x="373" y="365"/>
                </a:cubicBezTo>
                <a:cubicBezTo>
                  <a:pt x="366" y="365"/>
                  <a:pt x="363" y="356"/>
                  <a:pt x="368" y="353"/>
                </a:cubicBezTo>
                <a:lnTo>
                  <a:pt x="374" y="360"/>
                </a:lnTo>
                <a:cubicBezTo>
                  <a:pt x="375" y="353"/>
                  <a:pt x="367" y="359"/>
                  <a:pt x="371" y="350"/>
                </a:cubicBezTo>
                <a:cubicBezTo>
                  <a:pt x="378" y="348"/>
                  <a:pt x="379" y="357"/>
                  <a:pt x="377" y="361"/>
                </a:cubicBezTo>
                <a:lnTo>
                  <a:pt x="384" y="355"/>
                </a:lnTo>
                <a:cubicBezTo>
                  <a:pt x="385" y="357"/>
                  <a:pt x="384" y="359"/>
                  <a:pt x="385" y="363"/>
                </a:cubicBezTo>
                <a:cubicBezTo>
                  <a:pt x="386" y="356"/>
                  <a:pt x="402" y="365"/>
                  <a:pt x="403" y="354"/>
                </a:cubicBezTo>
                <a:lnTo>
                  <a:pt x="404" y="356"/>
                </a:lnTo>
                <a:cubicBezTo>
                  <a:pt x="422" y="349"/>
                  <a:pt x="429" y="342"/>
                  <a:pt x="443" y="336"/>
                </a:cubicBezTo>
                <a:cubicBezTo>
                  <a:pt x="440" y="329"/>
                  <a:pt x="446" y="328"/>
                  <a:pt x="448" y="320"/>
                </a:cubicBezTo>
                <a:cubicBezTo>
                  <a:pt x="459" y="318"/>
                  <a:pt x="473" y="318"/>
                  <a:pt x="486" y="312"/>
                </a:cubicBezTo>
                <a:cubicBezTo>
                  <a:pt x="493" y="304"/>
                  <a:pt x="486" y="305"/>
                  <a:pt x="488" y="299"/>
                </a:cubicBezTo>
                <a:cubicBezTo>
                  <a:pt x="491" y="305"/>
                  <a:pt x="503" y="298"/>
                  <a:pt x="499" y="306"/>
                </a:cubicBezTo>
                <a:cubicBezTo>
                  <a:pt x="514" y="298"/>
                  <a:pt x="518" y="296"/>
                  <a:pt x="534" y="282"/>
                </a:cubicBezTo>
                <a:cubicBezTo>
                  <a:pt x="531" y="280"/>
                  <a:pt x="528" y="280"/>
                  <a:pt x="528" y="278"/>
                </a:cubicBezTo>
                <a:cubicBezTo>
                  <a:pt x="531" y="275"/>
                  <a:pt x="537" y="277"/>
                  <a:pt x="538" y="280"/>
                </a:cubicBezTo>
                <a:lnTo>
                  <a:pt x="538" y="281"/>
                </a:lnTo>
                <a:cubicBezTo>
                  <a:pt x="555" y="262"/>
                  <a:pt x="595" y="276"/>
                  <a:pt x="606" y="255"/>
                </a:cubicBezTo>
                <a:lnTo>
                  <a:pt x="605" y="256"/>
                </a:lnTo>
                <a:lnTo>
                  <a:pt x="620" y="242"/>
                </a:lnTo>
                <a:cubicBezTo>
                  <a:pt x="628" y="239"/>
                  <a:pt x="617" y="248"/>
                  <a:pt x="625" y="250"/>
                </a:cubicBezTo>
                <a:cubicBezTo>
                  <a:pt x="639" y="231"/>
                  <a:pt x="655" y="237"/>
                  <a:pt x="667" y="223"/>
                </a:cubicBezTo>
                <a:cubicBezTo>
                  <a:pt x="688" y="236"/>
                  <a:pt x="709" y="203"/>
                  <a:pt x="731" y="208"/>
                </a:cubicBezTo>
                <a:lnTo>
                  <a:pt x="728" y="204"/>
                </a:lnTo>
                <a:cubicBezTo>
                  <a:pt x="730" y="198"/>
                  <a:pt x="734" y="204"/>
                  <a:pt x="737" y="204"/>
                </a:cubicBezTo>
                <a:cubicBezTo>
                  <a:pt x="736" y="201"/>
                  <a:pt x="731" y="202"/>
                  <a:pt x="733" y="199"/>
                </a:cubicBezTo>
                <a:cubicBezTo>
                  <a:pt x="738" y="195"/>
                  <a:pt x="744" y="192"/>
                  <a:pt x="750" y="190"/>
                </a:cubicBezTo>
                <a:cubicBezTo>
                  <a:pt x="752" y="189"/>
                  <a:pt x="755" y="188"/>
                  <a:pt x="757" y="188"/>
                </a:cubicBezTo>
                <a:cubicBezTo>
                  <a:pt x="761" y="188"/>
                  <a:pt x="764" y="189"/>
                  <a:pt x="765" y="191"/>
                </a:cubicBezTo>
                <a:cubicBezTo>
                  <a:pt x="765" y="192"/>
                  <a:pt x="764" y="196"/>
                  <a:pt x="763" y="197"/>
                </a:cubicBezTo>
                <a:cubicBezTo>
                  <a:pt x="762" y="200"/>
                  <a:pt x="761" y="201"/>
                  <a:pt x="760" y="202"/>
                </a:cubicBezTo>
                <a:cubicBezTo>
                  <a:pt x="760" y="203"/>
                  <a:pt x="767" y="200"/>
                  <a:pt x="772" y="199"/>
                </a:cubicBezTo>
                <a:cubicBezTo>
                  <a:pt x="778" y="197"/>
                  <a:pt x="781" y="199"/>
                  <a:pt x="774" y="203"/>
                </a:cubicBezTo>
                <a:cubicBezTo>
                  <a:pt x="771" y="202"/>
                  <a:pt x="768" y="202"/>
                  <a:pt x="765" y="203"/>
                </a:cubicBezTo>
                <a:cubicBezTo>
                  <a:pt x="768" y="203"/>
                  <a:pt x="769" y="205"/>
                  <a:pt x="768" y="207"/>
                </a:cubicBezTo>
                <a:lnTo>
                  <a:pt x="768" y="209"/>
                </a:lnTo>
                <a:lnTo>
                  <a:pt x="766" y="213"/>
                </a:lnTo>
                <a:cubicBezTo>
                  <a:pt x="765" y="216"/>
                  <a:pt x="764" y="219"/>
                  <a:pt x="762" y="222"/>
                </a:cubicBezTo>
                <a:cubicBezTo>
                  <a:pt x="759" y="229"/>
                  <a:pt x="755" y="234"/>
                  <a:pt x="751" y="243"/>
                </a:cubicBezTo>
                <a:cubicBezTo>
                  <a:pt x="746" y="255"/>
                  <a:pt x="742" y="267"/>
                  <a:pt x="742" y="278"/>
                </a:cubicBezTo>
                <a:cubicBezTo>
                  <a:pt x="741" y="275"/>
                  <a:pt x="738" y="275"/>
                  <a:pt x="739" y="271"/>
                </a:cubicBezTo>
                <a:cubicBezTo>
                  <a:pt x="734" y="275"/>
                  <a:pt x="733" y="285"/>
                  <a:pt x="735" y="293"/>
                </a:cubicBezTo>
                <a:cubicBezTo>
                  <a:pt x="736" y="301"/>
                  <a:pt x="741" y="306"/>
                  <a:pt x="744" y="306"/>
                </a:cubicBezTo>
                <a:cubicBezTo>
                  <a:pt x="745" y="312"/>
                  <a:pt x="740" y="309"/>
                  <a:pt x="739" y="314"/>
                </a:cubicBezTo>
                <a:cubicBezTo>
                  <a:pt x="739" y="320"/>
                  <a:pt x="745" y="324"/>
                  <a:pt x="750" y="328"/>
                </a:cubicBezTo>
                <a:cubicBezTo>
                  <a:pt x="755" y="331"/>
                  <a:pt x="760" y="333"/>
                  <a:pt x="760" y="337"/>
                </a:cubicBezTo>
                <a:cubicBezTo>
                  <a:pt x="760" y="338"/>
                  <a:pt x="756" y="336"/>
                  <a:pt x="754" y="335"/>
                </a:cubicBezTo>
                <a:cubicBezTo>
                  <a:pt x="760" y="339"/>
                  <a:pt x="781" y="353"/>
                  <a:pt x="779" y="343"/>
                </a:cubicBezTo>
                <a:cubicBezTo>
                  <a:pt x="786" y="349"/>
                  <a:pt x="796" y="351"/>
                  <a:pt x="803" y="352"/>
                </a:cubicBezTo>
                <a:cubicBezTo>
                  <a:pt x="811" y="353"/>
                  <a:pt x="815" y="353"/>
                  <a:pt x="820" y="356"/>
                </a:cubicBezTo>
                <a:cubicBezTo>
                  <a:pt x="827" y="349"/>
                  <a:pt x="839" y="363"/>
                  <a:pt x="843" y="351"/>
                </a:cubicBezTo>
                <a:cubicBezTo>
                  <a:pt x="840" y="363"/>
                  <a:pt x="862" y="363"/>
                  <a:pt x="869" y="358"/>
                </a:cubicBezTo>
                <a:cubicBezTo>
                  <a:pt x="868" y="360"/>
                  <a:pt x="869" y="361"/>
                  <a:pt x="871" y="362"/>
                </a:cubicBezTo>
                <a:cubicBezTo>
                  <a:pt x="872" y="363"/>
                  <a:pt x="875" y="365"/>
                  <a:pt x="873" y="367"/>
                </a:cubicBezTo>
                <a:cubicBezTo>
                  <a:pt x="876" y="367"/>
                  <a:pt x="880" y="367"/>
                  <a:pt x="883" y="366"/>
                </a:cubicBezTo>
                <a:cubicBezTo>
                  <a:pt x="886" y="366"/>
                  <a:pt x="887" y="365"/>
                  <a:pt x="889" y="364"/>
                </a:cubicBezTo>
                <a:cubicBezTo>
                  <a:pt x="892" y="362"/>
                  <a:pt x="894" y="360"/>
                  <a:pt x="892" y="357"/>
                </a:cubicBezTo>
                <a:cubicBezTo>
                  <a:pt x="912" y="369"/>
                  <a:pt x="922" y="339"/>
                  <a:pt x="934" y="355"/>
                </a:cubicBezTo>
                <a:cubicBezTo>
                  <a:pt x="957" y="342"/>
                  <a:pt x="976" y="330"/>
                  <a:pt x="994" y="321"/>
                </a:cubicBezTo>
                <a:cubicBezTo>
                  <a:pt x="998" y="333"/>
                  <a:pt x="973" y="330"/>
                  <a:pt x="978" y="341"/>
                </a:cubicBezTo>
                <a:cubicBezTo>
                  <a:pt x="995" y="330"/>
                  <a:pt x="1003" y="317"/>
                  <a:pt x="1022" y="314"/>
                </a:cubicBezTo>
                <a:cubicBezTo>
                  <a:pt x="1027" y="314"/>
                  <a:pt x="1021" y="320"/>
                  <a:pt x="1020" y="322"/>
                </a:cubicBezTo>
                <a:cubicBezTo>
                  <a:pt x="1036" y="312"/>
                  <a:pt x="1054" y="313"/>
                  <a:pt x="1067" y="306"/>
                </a:cubicBezTo>
                <a:lnTo>
                  <a:pt x="1064" y="309"/>
                </a:lnTo>
                <a:cubicBezTo>
                  <a:pt x="1067" y="309"/>
                  <a:pt x="1070" y="311"/>
                  <a:pt x="1070" y="305"/>
                </a:cubicBezTo>
                <a:lnTo>
                  <a:pt x="1068" y="307"/>
                </a:lnTo>
                <a:cubicBezTo>
                  <a:pt x="1062" y="299"/>
                  <a:pt x="1078" y="290"/>
                  <a:pt x="1080" y="287"/>
                </a:cubicBezTo>
                <a:cubicBezTo>
                  <a:pt x="1077" y="294"/>
                  <a:pt x="1079" y="295"/>
                  <a:pt x="1082" y="297"/>
                </a:cubicBezTo>
                <a:cubicBezTo>
                  <a:pt x="1085" y="300"/>
                  <a:pt x="1087" y="302"/>
                  <a:pt x="1081" y="311"/>
                </a:cubicBezTo>
                <a:cubicBezTo>
                  <a:pt x="1083" y="310"/>
                  <a:pt x="1086" y="308"/>
                  <a:pt x="1087" y="305"/>
                </a:cubicBezTo>
                <a:cubicBezTo>
                  <a:pt x="1089" y="307"/>
                  <a:pt x="1089" y="309"/>
                  <a:pt x="1085" y="312"/>
                </a:cubicBezTo>
                <a:cubicBezTo>
                  <a:pt x="1093" y="312"/>
                  <a:pt x="1094" y="305"/>
                  <a:pt x="1100" y="309"/>
                </a:cubicBezTo>
                <a:cubicBezTo>
                  <a:pt x="1098" y="311"/>
                  <a:pt x="1097" y="311"/>
                  <a:pt x="1094" y="314"/>
                </a:cubicBezTo>
                <a:cubicBezTo>
                  <a:pt x="1099" y="311"/>
                  <a:pt x="1106" y="309"/>
                  <a:pt x="1108" y="316"/>
                </a:cubicBezTo>
                <a:lnTo>
                  <a:pt x="1104" y="317"/>
                </a:lnTo>
                <a:cubicBezTo>
                  <a:pt x="1107" y="320"/>
                  <a:pt x="1113" y="324"/>
                  <a:pt x="1119" y="329"/>
                </a:cubicBezTo>
                <a:cubicBezTo>
                  <a:pt x="1125" y="335"/>
                  <a:pt x="1131" y="342"/>
                  <a:pt x="1138" y="352"/>
                </a:cubicBezTo>
                <a:cubicBezTo>
                  <a:pt x="1124" y="355"/>
                  <a:pt x="1141" y="360"/>
                  <a:pt x="1138" y="369"/>
                </a:cubicBezTo>
                <a:cubicBezTo>
                  <a:pt x="1142" y="371"/>
                  <a:pt x="1147" y="372"/>
                  <a:pt x="1152" y="373"/>
                </a:cubicBezTo>
                <a:cubicBezTo>
                  <a:pt x="1151" y="371"/>
                  <a:pt x="1150" y="368"/>
                  <a:pt x="1149" y="366"/>
                </a:cubicBezTo>
                <a:cubicBezTo>
                  <a:pt x="1160" y="372"/>
                  <a:pt x="1170" y="366"/>
                  <a:pt x="1177" y="371"/>
                </a:cubicBezTo>
                <a:lnTo>
                  <a:pt x="1169" y="374"/>
                </a:lnTo>
                <a:cubicBezTo>
                  <a:pt x="1175" y="375"/>
                  <a:pt x="1181" y="375"/>
                  <a:pt x="1186" y="376"/>
                </a:cubicBezTo>
                <a:lnTo>
                  <a:pt x="1178" y="370"/>
                </a:lnTo>
                <a:cubicBezTo>
                  <a:pt x="1188" y="367"/>
                  <a:pt x="1179" y="358"/>
                  <a:pt x="1190" y="363"/>
                </a:cubicBezTo>
                <a:cubicBezTo>
                  <a:pt x="1188" y="363"/>
                  <a:pt x="1199" y="364"/>
                  <a:pt x="1202" y="370"/>
                </a:cubicBezTo>
                <a:lnTo>
                  <a:pt x="1202" y="370"/>
                </a:lnTo>
                <a:cubicBezTo>
                  <a:pt x="1207" y="368"/>
                  <a:pt x="1212" y="365"/>
                  <a:pt x="1218" y="368"/>
                </a:cubicBezTo>
                <a:cubicBezTo>
                  <a:pt x="1219" y="371"/>
                  <a:pt x="1216" y="379"/>
                  <a:pt x="1217" y="381"/>
                </a:cubicBezTo>
                <a:cubicBezTo>
                  <a:pt x="1221" y="373"/>
                  <a:pt x="1237" y="380"/>
                  <a:pt x="1243" y="371"/>
                </a:cubicBezTo>
                <a:cubicBezTo>
                  <a:pt x="1241" y="373"/>
                  <a:pt x="1241" y="378"/>
                  <a:pt x="1241" y="380"/>
                </a:cubicBezTo>
                <a:lnTo>
                  <a:pt x="1245" y="373"/>
                </a:lnTo>
                <a:cubicBezTo>
                  <a:pt x="1249" y="375"/>
                  <a:pt x="1250" y="376"/>
                  <a:pt x="1249" y="380"/>
                </a:cubicBezTo>
                <a:cubicBezTo>
                  <a:pt x="1261" y="382"/>
                  <a:pt x="1245" y="368"/>
                  <a:pt x="1260" y="373"/>
                </a:cubicBezTo>
                <a:cubicBezTo>
                  <a:pt x="1258" y="374"/>
                  <a:pt x="1259" y="375"/>
                  <a:pt x="1257" y="376"/>
                </a:cubicBezTo>
                <a:cubicBezTo>
                  <a:pt x="1271" y="379"/>
                  <a:pt x="1284" y="372"/>
                  <a:pt x="1298" y="374"/>
                </a:cubicBezTo>
                <a:cubicBezTo>
                  <a:pt x="1302" y="384"/>
                  <a:pt x="1286" y="377"/>
                  <a:pt x="1291" y="386"/>
                </a:cubicBezTo>
                <a:cubicBezTo>
                  <a:pt x="1310" y="383"/>
                  <a:pt x="1330" y="372"/>
                  <a:pt x="1348" y="373"/>
                </a:cubicBezTo>
                <a:lnTo>
                  <a:pt x="1344" y="372"/>
                </a:lnTo>
                <a:cubicBezTo>
                  <a:pt x="1346" y="358"/>
                  <a:pt x="1359" y="378"/>
                  <a:pt x="1367" y="371"/>
                </a:cubicBezTo>
                <a:cubicBezTo>
                  <a:pt x="1365" y="372"/>
                  <a:pt x="1365" y="379"/>
                  <a:pt x="1365" y="377"/>
                </a:cubicBezTo>
                <a:cubicBezTo>
                  <a:pt x="1378" y="378"/>
                  <a:pt x="1391" y="371"/>
                  <a:pt x="1409" y="365"/>
                </a:cubicBezTo>
                <a:lnTo>
                  <a:pt x="1407" y="369"/>
                </a:lnTo>
                <a:cubicBezTo>
                  <a:pt x="1415" y="371"/>
                  <a:pt x="1426" y="369"/>
                  <a:pt x="1435" y="369"/>
                </a:cubicBezTo>
                <a:cubicBezTo>
                  <a:pt x="1436" y="365"/>
                  <a:pt x="1441" y="366"/>
                  <a:pt x="1438" y="361"/>
                </a:cubicBezTo>
                <a:cubicBezTo>
                  <a:pt x="1465" y="378"/>
                  <a:pt x="1482" y="344"/>
                  <a:pt x="1506" y="358"/>
                </a:cubicBezTo>
                <a:cubicBezTo>
                  <a:pt x="1504" y="358"/>
                  <a:pt x="1501" y="362"/>
                  <a:pt x="1503" y="361"/>
                </a:cubicBezTo>
                <a:lnTo>
                  <a:pt x="1520" y="355"/>
                </a:lnTo>
                <a:cubicBezTo>
                  <a:pt x="1518" y="350"/>
                  <a:pt x="1518" y="352"/>
                  <a:pt x="1513" y="348"/>
                </a:cubicBezTo>
                <a:cubicBezTo>
                  <a:pt x="1515" y="344"/>
                  <a:pt x="1519" y="341"/>
                  <a:pt x="1524" y="340"/>
                </a:cubicBezTo>
                <a:cubicBezTo>
                  <a:pt x="1516" y="345"/>
                  <a:pt x="1526" y="350"/>
                  <a:pt x="1530" y="352"/>
                </a:cubicBezTo>
                <a:cubicBezTo>
                  <a:pt x="1529" y="351"/>
                  <a:pt x="1530" y="348"/>
                  <a:pt x="1529" y="347"/>
                </a:cubicBezTo>
                <a:cubicBezTo>
                  <a:pt x="1540" y="356"/>
                  <a:pt x="1529" y="334"/>
                  <a:pt x="1543" y="339"/>
                </a:cubicBezTo>
                <a:lnTo>
                  <a:pt x="1543" y="343"/>
                </a:lnTo>
                <a:cubicBezTo>
                  <a:pt x="1547" y="340"/>
                  <a:pt x="1551" y="335"/>
                  <a:pt x="1556" y="335"/>
                </a:cubicBezTo>
                <a:cubicBezTo>
                  <a:pt x="1560" y="342"/>
                  <a:pt x="1552" y="339"/>
                  <a:pt x="1552" y="345"/>
                </a:cubicBezTo>
                <a:cubicBezTo>
                  <a:pt x="1560" y="344"/>
                  <a:pt x="1565" y="330"/>
                  <a:pt x="1573" y="336"/>
                </a:cubicBezTo>
                <a:cubicBezTo>
                  <a:pt x="1570" y="338"/>
                  <a:pt x="1565" y="339"/>
                  <a:pt x="1562" y="341"/>
                </a:cubicBezTo>
                <a:cubicBezTo>
                  <a:pt x="1571" y="348"/>
                  <a:pt x="1572" y="346"/>
                  <a:pt x="1577" y="346"/>
                </a:cubicBezTo>
                <a:lnTo>
                  <a:pt x="1577" y="346"/>
                </a:lnTo>
                <a:lnTo>
                  <a:pt x="1590" y="348"/>
                </a:lnTo>
                <a:lnTo>
                  <a:pt x="1586" y="346"/>
                </a:lnTo>
                <a:cubicBezTo>
                  <a:pt x="1592" y="327"/>
                  <a:pt x="1604" y="340"/>
                  <a:pt x="1615" y="326"/>
                </a:cubicBezTo>
                <a:cubicBezTo>
                  <a:pt x="1605" y="339"/>
                  <a:pt x="1614" y="332"/>
                  <a:pt x="1614" y="340"/>
                </a:cubicBezTo>
                <a:cubicBezTo>
                  <a:pt x="1618" y="342"/>
                  <a:pt x="1623" y="344"/>
                  <a:pt x="1622" y="346"/>
                </a:cubicBezTo>
                <a:cubicBezTo>
                  <a:pt x="1627" y="339"/>
                  <a:pt x="1633" y="349"/>
                  <a:pt x="1639" y="339"/>
                </a:cubicBezTo>
                <a:cubicBezTo>
                  <a:pt x="1640" y="341"/>
                  <a:pt x="1646" y="338"/>
                  <a:pt x="1646" y="344"/>
                </a:cubicBezTo>
                <a:cubicBezTo>
                  <a:pt x="1653" y="341"/>
                  <a:pt x="1643" y="340"/>
                  <a:pt x="1643" y="337"/>
                </a:cubicBezTo>
                <a:cubicBezTo>
                  <a:pt x="1653" y="326"/>
                  <a:pt x="1673" y="342"/>
                  <a:pt x="1687" y="327"/>
                </a:cubicBezTo>
                <a:cubicBezTo>
                  <a:pt x="1701" y="319"/>
                  <a:pt x="1702" y="310"/>
                  <a:pt x="1714" y="303"/>
                </a:cubicBezTo>
                <a:cubicBezTo>
                  <a:pt x="1719" y="306"/>
                  <a:pt x="1712" y="313"/>
                  <a:pt x="1712" y="313"/>
                </a:cubicBezTo>
                <a:cubicBezTo>
                  <a:pt x="1720" y="315"/>
                  <a:pt x="1726" y="313"/>
                  <a:pt x="1732" y="309"/>
                </a:cubicBezTo>
                <a:cubicBezTo>
                  <a:pt x="1731" y="312"/>
                  <a:pt x="1733" y="313"/>
                  <a:pt x="1736" y="315"/>
                </a:cubicBezTo>
                <a:cubicBezTo>
                  <a:pt x="1741" y="314"/>
                  <a:pt x="1737" y="305"/>
                  <a:pt x="1745" y="308"/>
                </a:cubicBezTo>
                <a:cubicBezTo>
                  <a:pt x="1745" y="311"/>
                  <a:pt x="1744" y="315"/>
                  <a:pt x="1742" y="319"/>
                </a:cubicBezTo>
                <a:cubicBezTo>
                  <a:pt x="1748" y="315"/>
                  <a:pt x="1754" y="309"/>
                  <a:pt x="1760" y="305"/>
                </a:cubicBezTo>
                <a:cubicBezTo>
                  <a:pt x="1763" y="309"/>
                  <a:pt x="1757" y="313"/>
                  <a:pt x="1755" y="316"/>
                </a:cubicBezTo>
                <a:cubicBezTo>
                  <a:pt x="1763" y="313"/>
                  <a:pt x="1774" y="308"/>
                  <a:pt x="1775" y="300"/>
                </a:cubicBezTo>
                <a:lnTo>
                  <a:pt x="1769" y="299"/>
                </a:lnTo>
                <a:cubicBezTo>
                  <a:pt x="1772" y="298"/>
                  <a:pt x="1772" y="305"/>
                  <a:pt x="1771" y="306"/>
                </a:cubicBezTo>
                <a:cubicBezTo>
                  <a:pt x="1765" y="313"/>
                  <a:pt x="1761" y="306"/>
                  <a:pt x="1760" y="304"/>
                </a:cubicBezTo>
                <a:lnTo>
                  <a:pt x="1764" y="301"/>
                </a:lnTo>
                <a:cubicBezTo>
                  <a:pt x="1756" y="287"/>
                  <a:pt x="1745" y="308"/>
                  <a:pt x="1736" y="309"/>
                </a:cubicBezTo>
                <a:lnTo>
                  <a:pt x="1737" y="297"/>
                </a:lnTo>
                <a:lnTo>
                  <a:pt x="1729" y="308"/>
                </a:lnTo>
                <a:cubicBezTo>
                  <a:pt x="1727" y="306"/>
                  <a:pt x="1724" y="300"/>
                  <a:pt x="1728" y="298"/>
                </a:cubicBezTo>
                <a:cubicBezTo>
                  <a:pt x="1720" y="294"/>
                  <a:pt x="1723" y="303"/>
                  <a:pt x="1716" y="298"/>
                </a:cubicBezTo>
                <a:lnTo>
                  <a:pt x="1716" y="296"/>
                </a:lnTo>
                <a:lnTo>
                  <a:pt x="1710" y="301"/>
                </a:lnTo>
                <a:cubicBezTo>
                  <a:pt x="1710" y="298"/>
                  <a:pt x="1707" y="293"/>
                  <a:pt x="1711" y="294"/>
                </a:cubicBezTo>
                <a:cubicBezTo>
                  <a:pt x="1698" y="290"/>
                  <a:pt x="1694" y="306"/>
                  <a:pt x="1687" y="299"/>
                </a:cubicBezTo>
                <a:lnTo>
                  <a:pt x="1688" y="298"/>
                </a:lnTo>
                <a:cubicBezTo>
                  <a:pt x="1672" y="305"/>
                  <a:pt x="1688" y="306"/>
                  <a:pt x="1677" y="318"/>
                </a:cubicBezTo>
                <a:lnTo>
                  <a:pt x="1665" y="300"/>
                </a:lnTo>
                <a:lnTo>
                  <a:pt x="1665" y="308"/>
                </a:lnTo>
                <a:cubicBezTo>
                  <a:pt x="1663" y="309"/>
                  <a:pt x="1660" y="309"/>
                  <a:pt x="1660" y="305"/>
                </a:cubicBezTo>
                <a:cubicBezTo>
                  <a:pt x="1654" y="312"/>
                  <a:pt x="1661" y="309"/>
                  <a:pt x="1659" y="314"/>
                </a:cubicBezTo>
                <a:cubicBezTo>
                  <a:pt x="1649" y="309"/>
                  <a:pt x="1636" y="322"/>
                  <a:pt x="1632" y="310"/>
                </a:cubicBezTo>
                <a:cubicBezTo>
                  <a:pt x="1630" y="316"/>
                  <a:pt x="1641" y="313"/>
                  <a:pt x="1633" y="319"/>
                </a:cubicBezTo>
                <a:cubicBezTo>
                  <a:pt x="1628" y="306"/>
                  <a:pt x="1623" y="323"/>
                  <a:pt x="1614" y="318"/>
                </a:cubicBezTo>
                <a:cubicBezTo>
                  <a:pt x="1615" y="311"/>
                  <a:pt x="1623" y="313"/>
                  <a:pt x="1614" y="308"/>
                </a:cubicBezTo>
                <a:cubicBezTo>
                  <a:pt x="1612" y="321"/>
                  <a:pt x="1599" y="308"/>
                  <a:pt x="1593" y="312"/>
                </a:cubicBezTo>
                <a:cubicBezTo>
                  <a:pt x="1594" y="321"/>
                  <a:pt x="1579" y="318"/>
                  <a:pt x="1569" y="323"/>
                </a:cubicBezTo>
                <a:cubicBezTo>
                  <a:pt x="1569" y="320"/>
                  <a:pt x="1548" y="321"/>
                  <a:pt x="1537" y="319"/>
                </a:cubicBezTo>
                <a:lnTo>
                  <a:pt x="1537" y="318"/>
                </a:lnTo>
                <a:cubicBezTo>
                  <a:pt x="1537" y="328"/>
                  <a:pt x="1526" y="327"/>
                  <a:pt x="1519" y="331"/>
                </a:cubicBezTo>
                <a:cubicBezTo>
                  <a:pt x="1518" y="325"/>
                  <a:pt x="1519" y="322"/>
                  <a:pt x="1523" y="319"/>
                </a:cubicBezTo>
                <a:lnTo>
                  <a:pt x="1516" y="320"/>
                </a:lnTo>
                <a:cubicBezTo>
                  <a:pt x="1515" y="324"/>
                  <a:pt x="1513" y="326"/>
                  <a:pt x="1508" y="327"/>
                </a:cubicBezTo>
                <a:lnTo>
                  <a:pt x="1509" y="320"/>
                </a:lnTo>
                <a:cubicBezTo>
                  <a:pt x="1500" y="322"/>
                  <a:pt x="1491" y="331"/>
                  <a:pt x="1478" y="328"/>
                </a:cubicBezTo>
                <a:cubicBezTo>
                  <a:pt x="1478" y="335"/>
                  <a:pt x="1491" y="345"/>
                  <a:pt x="1478" y="352"/>
                </a:cubicBezTo>
                <a:cubicBezTo>
                  <a:pt x="1477" y="348"/>
                  <a:pt x="1476" y="342"/>
                  <a:pt x="1479" y="340"/>
                </a:cubicBezTo>
                <a:cubicBezTo>
                  <a:pt x="1478" y="341"/>
                  <a:pt x="1475" y="343"/>
                  <a:pt x="1473" y="342"/>
                </a:cubicBezTo>
                <a:lnTo>
                  <a:pt x="1477" y="335"/>
                </a:lnTo>
                <a:cubicBezTo>
                  <a:pt x="1471" y="334"/>
                  <a:pt x="1475" y="341"/>
                  <a:pt x="1471" y="341"/>
                </a:cubicBezTo>
                <a:cubicBezTo>
                  <a:pt x="1470" y="336"/>
                  <a:pt x="1467" y="338"/>
                  <a:pt x="1467" y="334"/>
                </a:cubicBezTo>
                <a:cubicBezTo>
                  <a:pt x="1468" y="333"/>
                  <a:pt x="1471" y="335"/>
                  <a:pt x="1472" y="333"/>
                </a:cubicBezTo>
                <a:cubicBezTo>
                  <a:pt x="1467" y="333"/>
                  <a:pt x="1461" y="330"/>
                  <a:pt x="1458" y="327"/>
                </a:cubicBezTo>
                <a:cubicBezTo>
                  <a:pt x="1459" y="330"/>
                  <a:pt x="1459" y="334"/>
                  <a:pt x="1456" y="335"/>
                </a:cubicBezTo>
                <a:cubicBezTo>
                  <a:pt x="1446" y="336"/>
                  <a:pt x="1452" y="329"/>
                  <a:pt x="1446" y="327"/>
                </a:cubicBezTo>
                <a:cubicBezTo>
                  <a:pt x="1444" y="331"/>
                  <a:pt x="1437" y="328"/>
                  <a:pt x="1438" y="336"/>
                </a:cubicBezTo>
                <a:cubicBezTo>
                  <a:pt x="1435" y="336"/>
                  <a:pt x="1434" y="332"/>
                  <a:pt x="1433" y="330"/>
                </a:cubicBezTo>
                <a:cubicBezTo>
                  <a:pt x="1429" y="335"/>
                  <a:pt x="1410" y="334"/>
                  <a:pt x="1417" y="342"/>
                </a:cubicBezTo>
                <a:lnTo>
                  <a:pt x="1418" y="342"/>
                </a:lnTo>
                <a:lnTo>
                  <a:pt x="1417" y="343"/>
                </a:lnTo>
                <a:lnTo>
                  <a:pt x="1417" y="343"/>
                </a:lnTo>
                <a:lnTo>
                  <a:pt x="1417" y="343"/>
                </a:lnTo>
                <a:cubicBezTo>
                  <a:pt x="1402" y="352"/>
                  <a:pt x="1383" y="342"/>
                  <a:pt x="1368" y="346"/>
                </a:cubicBezTo>
                <a:lnTo>
                  <a:pt x="1367" y="344"/>
                </a:lnTo>
                <a:cubicBezTo>
                  <a:pt x="1358" y="348"/>
                  <a:pt x="1346" y="347"/>
                  <a:pt x="1340" y="353"/>
                </a:cubicBezTo>
                <a:cubicBezTo>
                  <a:pt x="1337" y="354"/>
                  <a:pt x="1333" y="349"/>
                  <a:pt x="1334" y="346"/>
                </a:cubicBezTo>
                <a:cubicBezTo>
                  <a:pt x="1327" y="348"/>
                  <a:pt x="1326" y="351"/>
                  <a:pt x="1315" y="348"/>
                </a:cubicBezTo>
                <a:cubicBezTo>
                  <a:pt x="1322" y="343"/>
                  <a:pt x="1312" y="344"/>
                  <a:pt x="1322" y="344"/>
                </a:cubicBezTo>
                <a:cubicBezTo>
                  <a:pt x="1313" y="342"/>
                  <a:pt x="1310" y="338"/>
                  <a:pt x="1301" y="346"/>
                </a:cubicBezTo>
                <a:cubicBezTo>
                  <a:pt x="1304" y="339"/>
                  <a:pt x="1293" y="337"/>
                  <a:pt x="1289" y="339"/>
                </a:cubicBezTo>
                <a:lnTo>
                  <a:pt x="1296" y="344"/>
                </a:lnTo>
                <a:cubicBezTo>
                  <a:pt x="1291" y="345"/>
                  <a:pt x="1286" y="345"/>
                  <a:pt x="1282" y="344"/>
                </a:cubicBezTo>
                <a:lnTo>
                  <a:pt x="1284" y="335"/>
                </a:lnTo>
                <a:cubicBezTo>
                  <a:pt x="1265" y="325"/>
                  <a:pt x="1249" y="354"/>
                  <a:pt x="1235" y="335"/>
                </a:cubicBezTo>
                <a:cubicBezTo>
                  <a:pt x="1230" y="341"/>
                  <a:pt x="1245" y="340"/>
                  <a:pt x="1241" y="347"/>
                </a:cubicBezTo>
                <a:cubicBezTo>
                  <a:pt x="1232" y="345"/>
                  <a:pt x="1224" y="332"/>
                  <a:pt x="1221" y="332"/>
                </a:cubicBezTo>
                <a:cubicBezTo>
                  <a:pt x="1210" y="326"/>
                  <a:pt x="1209" y="344"/>
                  <a:pt x="1197" y="339"/>
                </a:cubicBezTo>
                <a:cubicBezTo>
                  <a:pt x="1198" y="342"/>
                  <a:pt x="1199" y="351"/>
                  <a:pt x="1189" y="352"/>
                </a:cubicBezTo>
                <a:cubicBezTo>
                  <a:pt x="1180" y="349"/>
                  <a:pt x="1181" y="337"/>
                  <a:pt x="1187" y="336"/>
                </a:cubicBezTo>
                <a:cubicBezTo>
                  <a:pt x="1189" y="336"/>
                  <a:pt x="1190" y="337"/>
                  <a:pt x="1189" y="338"/>
                </a:cubicBezTo>
                <a:cubicBezTo>
                  <a:pt x="1192" y="337"/>
                  <a:pt x="1196" y="337"/>
                  <a:pt x="1193" y="333"/>
                </a:cubicBezTo>
                <a:lnTo>
                  <a:pt x="1192" y="336"/>
                </a:lnTo>
                <a:cubicBezTo>
                  <a:pt x="1188" y="332"/>
                  <a:pt x="1178" y="329"/>
                  <a:pt x="1181" y="325"/>
                </a:cubicBezTo>
                <a:cubicBezTo>
                  <a:pt x="1175" y="326"/>
                  <a:pt x="1177" y="329"/>
                  <a:pt x="1181" y="332"/>
                </a:cubicBezTo>
                <a:cubicBezTo>
                  <a:pt x="1177" y="329"/>
                  <a:pt x="1174" y="328"/>
                  <a:pt x="1171" y="327"/>
                </a:cubicBezTo>
                <a:cubicBezTo>
                  <a:pt x="1169" y="326"/>
                  <a:pt x="1166" y="325"/>
                  <a:pt x="1165" y="322"/>
                </a:cubicBezTo>
                <a:cubicBezTo>
                  <a:pt x="1165" y="324"/>
                  <a:pt x="1164" y="328"/>
                  <a:pt x="1163" y="327"/>
                </a:cubicBezTo>
                <a:cubicBezTo>
                  <a:pt x="1159" y="318"/>
                  <a:pt x="1155" y="328"/>
                  <a:pt x="1149" y="322"/>
                </a:cubicBezTo>
                <a:cubicBezTo>
                  <a:pt x="1150" y="314"/>
                  <a:pt x="1160" y="318"/>
                  <a:pt x="1151" y="311"/>
                </a:cubicBezTo>
                <a:cubicBezTo>
                  <a:pt x="1151" y="303"/>
                  <a:pt x="1158" y="306"/>
                  <a:pt x="1162" y="307"/>
                </a:cubicBezTo>
                <a:cubicBezTo>
                  <a:pt x="1152" y="301"/>
                  <a:pt x="1154" y="283"/>
                  <a:pt x="1146" y="274"/>
                </a:cubicBezTo>
                <a:cubicBezTo>
                  <a:pt x="1149" y="276"/>
                  <a:pt x="1152" y="278"/>
                  <a:pt x="1154" y="280"/>
                </a:cubicBezTo>
                <a:cubicBezTo>
                  <a:pt x="1150" y="276"/>
                  <a:pt x="1146" y="272"/>
                  <a:pt x="1143" y="269"/>
                </a:cubicBezTo>
                <a:cubicBezTo>
                  <a:pt x="1143" y="272"/>
                  <a:pt x="1143" y="275"/>
                  <a:pt x="1142" y="277"/>
                </a:cubicBezTo>
                <a:cubicBezTo>
                  <a:pt x="1139" y="272"/>
                  <a:pt x="1136" y="269"/>
                  <a:pt x="1137" y="267"/>
                </a:cubicBezTo>
                <a:cubicBezTo>
                  <a:pt x="1130" y="267"/>
                  <a:pt x="1134" y="278"/>
                  <a:pt x="1122" y="276"/>
                </a:cubicBezTo>
                <a:cubicBezTo>
                  <a:pt x="1119" y="270"/>
                  <a:pt x="1105" y="271"/>
                  <a:pt x="1106" y="263"/>
                </a:cubicBezTo>
                <a:cubicBezTo>
                  <a:pt x="1114" y="267"/>
                  <a:pt x="1115" y="266"/>
                  <a:pt x="1115" y="263"/>
                </a:cubicBezTo>
                <a:cubicBezTo>
                  <a:pt x="1115" y="260"/>
                  <a:pt x="1115" y="256"/>
                  <a:pt x="1124" y="260"/>
                </a:cubicBezTo>
                <a:cubicBezTo>
                  <a:pt x="1120" y="259"/>
                  <a:pt x="1116" y="257"/>
                  <a:pt x="1112" y="254"/>
                </a:cubicBezTo>
                <a:lnTo>
                  <a:pt x="1115" y="253"/>
                </a:lnTo>
                <a:cubicBezTo>
                  <a:pt x="1098" y="239"/>
                  <a:pt x="1104" y="259"/>
                  <a:pt x="1085" y="254"/>
                </a:cubicBezTo>
                <a:cubicBezTo>
                  <a:pt x="1089" y="250"/>
                  <a:pt x="1081" y="245"/>
                  <a:pt x="1078" y="246"/>
                </a:cubicBezTo>
                <a:cubicBezTo>
                  <a:pt x="1086" y="246"/>
                  <a:pt x="1080" y="253"/>
                  <a:pt x="1074" y="257"/>
                </a:cubicBezTo>
                <a:cubicBezTo>
                  <a:pt x="1062" y="253"/>
                  <a:pt x="1062" y="260"/>
                  <a:pt x="1057" y="260"/>
                </a:cubicBezTo>
                <a:lnTo>
                  <a:pt x="1063" y="261"/>
                </a:lnTo>
                <a:cubicBezTo>
                  <a:pt x="1061" y="266"/>
                  <a:pt x="1056" y="266"/>
                  <a:pt x="1050" y="269"/>
                </a:cubicBezTo>
                <a:cubicBezTo>
                  <a:pt x="1048" y="265"/>
                  <a:pt x="1055" y="265"/>
                  <a:pt x="1053" y="264"/>
                </a:cubicBezTo>
                <a:cubicBezTo>
                  <a:pt x="1047" y="273"/>
                  <a:pt x="1034" y="259"/>
                  <a:pt x="1025" y="267"/>
                </a:cubicBezTo>
                <a:cubicBezTo>
                  <a:pt x="1020" y="265"/>
                  <a:pt x="1022" y="258"/>
                  <a:pt x="1018" y="257"/>
                </a:cubicBezTo>
                <a:cubicBezTo>
                  <a:pt x="1008" y="266"/>
                  <a:pt x="1004" y="255"/>
                  <a:pt x="994" y="263"/>
                </a:cubicBezTo>
                <a:cubicBezTo>
                  <a:pt x="999" y="268"/>
                  <a:pt x="999" y="266"/>
                  <a:pt x="993" y="275"/>
                </a:cubicBezTo>
                <a:lnTo>
                  <a:pt x="1010" y="265"/>
                </a:lnTo>
                <a:lnTo>
                  <a:pt x="1001" y="277"/>
                </a:lnTo>
                <a:cubicBezTo>
                  <a:pt x="1007" y="275"/>
                  <a:pt x="1012" y="270"/>
                  <a:pt x="1015" y="270"/>
                </a:cubicBezTo>
                <a:cubicBezTo>
                  <a:pt x="1011" y="276"/>
                  <a:pt x="1011" y="275"/>
                  <a:pt x="1015" y="279"/>
                </a:cubicBezTo>
                <a:cubicBezTo>
                  <a:pt x="1005" y="272"/>
                  <a:pt x="1002" y="289"/>
                  <a:pt x="992" y="285"/>
                </a:cubicBezTo>
                <a:lnTo>
                  <a:pt x="987" y="270"/>
                </a:lnTo>
                <a:cubicBezTo>
                  <a:pt x="972" y="268"/>
                  <a:pt x="966" y="286"/>
                  <a:pt x="949" y="288"/>
                </a:cubicBezTo>
                <a:lnTo>
                  <a:pt x="955" y="288"/>
                </a:lnTo>
                <a:cubicBezTo>
                  <a:pt x="955" y="295"/>
                  <a:pt x="945" y="293"/>
                  <a:pt x="941" y="297"/>
                </a:cubicBezTo>
                <a:cubicBezTo>
                  <a:pt x="940" y="292"/>
                  <a:pt x="936" y="291"/>
                  <a:pt x="932" y="289"/>
                </a:cubicBezTo>
                <a:cubicBezTo>
                  <a:pt x="934" y="292"/>
                  <a:pt x="921" y="292"/>
                  <a:pt x="922" y="302"/>
                </a:cubicBezTo>
                <a:lnTo>
                  <a:pt x="913" y="298"/>
                </a:lnTo>
                <a:cubicBezTo>
                  <a:pt x="900" y="298"/>
                  <a:pt x="902" y="316"/>
                  <a:pt x="889" y="316"/>
                </a:cubicBezTo>
                <a:cubicBezTo>
                  <a:pt x="892" y="310"/>
                  <a:pt x="886" y="307"/>
                  <a:pt x="893" y="302"/>
                </a:cubicBezTo>
                <a:cubicBezTo>
                  <a:pt x="889" y="303"/>
                  <a:pt x="885" y="302"/>
                  <a:pt x="886" y="306"/>
                </a:cubicBezTo>
                <a:cubicBezTo>
                  <a:pt x="884" y="304"/>
                  <a:pt x="882" y="307"/>
                  <a:pt x="879" y="308"/>
                </a:cubicBezTo>
                <a:cubicBezTo>
                  <a:pt x="878" y="310"/>
                  <a:pt x="876" y="311"/>
                  <a:pt x="874" y="309"/>
                </a:cubicBezTo>
                <a:cubicBezTo>
                  <a:pt x="872" y="311"/>
                  <a:pt x="871" y="316"/>
                  <a:pt x="866" y="315"/>
                </a:cubicBezTo>
                <a:lnTo>
                  <a:pt x="866" y="313"/>
                </a:lnTo>
                <a:cubicBezTo>
                  <a:pt x="866" y="315"/>
                  <a:pt x="858" y="316"/>
                  <a:pt x="862" y="322"/>
                </a:cubicBezTo>
                <a:cubicBezTo>
                  <a:pt x="856" y="313"/>
                  <a:pt x="846" y="312"/>
                  <a:pt x="837" y="312"/>
                </a:cubicBezTo>
                <a:cubicBezTo>
                  <a:pt x="828" y="311"/>
                  <a:pt x="818" y="310"/>
                  <a:pt x="816" y="302"/>
                </a:cubicBezTo>
                <a:cubicBezTo>
                  <a:pt x="810" y="303"/>
                  <a:pt x="802" y="302"/>
                  <a:pt x="796" y="299"/>
                </a:cubicBezTo>
                <a:cubicBezTo>
                  <a:pt x="798" y="298"/>
                  <a:pt x="799" y="297"/>
                  <a:pt x="799" y="298"/>
                </a:cubicBezTo>
                <a:cubicBezTo>
                  <a:pt x="798" y="294"/>
                  <a:pt x="794" y="296"/>
                  <a:pt x="789" y="297"/>
                </a:cubicBezTo>
                <a:cubicBezTo>
                  <a:pt x="785" y="298"/>
                  <a:pt x="779" y="298"/>
                  <a:pt x="781" y="291"/>
                </a:cubicBezTo>
                <a:cubicBezTo>
                  <a:pt x="789" y="283"/>
                  <a:pt x="787" y="294"/>
                  <a:pt x="790" y="290"/>
                </a:cubicBezTo>
                <a:cubicBezTo>
                  <a:pt x="799" y="286"/>
                  <a:pt x="798" y="284"/>
                  <a:pt x="797" y="282"/>
                </a:cubicBezTo>
                <a:cubicBezTo>
                  <a:pt x="795" y="280"/>
                  <a:pt x="794" y="276"/>
                  <a:pt x="800" y="274"/>
                </a:cubicBezTo>
                <a:lnTo>
                  <a:pt x="801" y="275"/>
                </a:lnTo>
                <a:cubicBezTo>
                  <a:pt x="804" y="274"/>
                  <a:pt x="803" y="273"/>
                  <a:pt x="802" y="270"/>
                </a:cubicBezTo>
                <a:cubicBezTo>
                  <a:pt x="801" y="268"/>
                  <a:pt x="801" y="260"/>
                  <a:pt x="805" y="256"/>
                </a:cubicBezTo>
                <a:lnTo>
                  <a:pt x="807" y="257"/>
                </a:lnTo>
                <a:cubicBezTo>
                  <a:pt x="803" y="245"/>
                  <a:pt x="807" y="231"/>
                  <a:pt x="810" y="217"/>
                </a:cubicBezTo>
                <a:cubicBezTo>
                  <a:pt x="815" y="223"/>
                  <a:pt x="811" y="224"/>
                  <a:pt x="818" y="223"/>
                </a:cubicBezTo>
                <a:cubicBezTo>
                  <a:pt x="820" y="217"/>
                  <a:pt x="807" y="222"/>
                  <a:pt x="809" y="210"/>
                </a:cubicBezTo>
                <a:cubicBezTo>
                  <a:pt x="814" y="207"/>
                  <a:pt x="820" y="199"/>
                  <a:pt x="827" y="196"/>
                </a:cubicBezTo>
                <a:cubicBezTo>
                  <a:pt x="827" y="201"/>
                  <a:pt x="826" y="205"/>
                  <a:pt x="825" y="209"/>
                </a:cubicBezTo>
                <a:cubicBezTo>
                  <a:pt x="836" y="203"/>
                  <a:pt x="828" y="192"/>
                  <a:pt x="830" y="185"/>
                </a:cubicBezTo>
                <a:lnTo>
                  <a:pt x="835" y="185"/>
                </a:lnTo>
                <a:cubicBezTo>
                  <a:pt x="834" y="174"/>
                  <a:pt x="831" y="170"/>
                  <a:pt x="828" y="167"/>
                </a:cubicBezTo>
                <a:cubicBezTo>
                  <a:pt x="825" y="163"/>
                  <a:pt x="822" y="160"/>
                  <a:pt x="820" y="150"/>
                </a:cubicBezTo>
                <a:lnTo>
                  <a:pt x="818" y="154"/>
                </a:lnTo>
                <a:cubicBezTo>
                  <a:pt x="808" y="153"/>
                  <a:pt x="821" y="142"/>
                  <a:pt x="811" y="138"/>
                </a:cubicBezTo>
                <a:cubicBezTo>
                  <a:pt x="814" y="134"/>
                  <a:pt x="816" y="130"/>
                  <a:pt x="818" y="126"/>
                </a:cubicBezTo>
                <a:cubicBezTo>
                  <a:pt x="817" y="125"/>
                  <a:pt x="815" y="123"/>
                  <a:pt x="813" y="123"/>
                </a:cubicBezTo>
                <a:cubicBezTo>
                  <a:pt x="811" y="123"/>
                  <a:pt x="808" y="123"/>
                  <a:pt x="805" y="124"/>
                </a:cubicBezTo>
                <a:cubicBezTo>
                  <a:pt x="796" y="130"/>
                  <a:pt x="787" y="135"/>
                  <a:pt x="781" y="138"/>
                </a:cubicBezTo>
                <a:cubicBezTo>
                  <a:pt x="788" y="130"/>
                  <a:pt x="799" y="123"/>
                  <a:pt x="810" y="117"/>
                </a:cubicBezTo>
                <a:cubicBezTo>
                  <a:pt x="813" y="116"/>
                  <a:pt x="816" y="116"/>
                  <a:pt x="818" y="116"/>
                </a:cubicBezTo>
                <a:cubicBezTo>
                  <a:pt x="817" y="115"/>
                  <a:pt x="815" y="114"/>
                  <a:pt x="813" y="112"/>
                </a:cubicBezTo>
                <a:cubicBezTo>
                  <a:pt x="804" y="115"/>
                  <a:pt x="793" y="120"/>
                  <a:pt x="789" y="125"/>
                </a:cubicBezTo>
                <a:cubicBezTo>
                  <a:pt x="792" y="123"/>
                  <a:pt x="798" y="119"/>
                  <a:pt x="800" y="120"/>
                </a:cubicBezTo>
                <a:cubicBezTo>
                  <a:pt x="785" y="132"/>
                  <a:pt x="774" y="140"/>
                  <a:pt x="762" y="144"/>
                </a:cubicBezTo>
                <a:cubicBezTo>
                  <a:pt x="765" y="133"/>
                  <a:pt x="755" y="135"/>
                  <a:pt x="743" y="138"/>
                </a:cubicBezTo>
                <a:cubicBezTo>
                  <a:pt x="731" y="142"/>
                  <a:pt x="722" y="146"/>
                  <a:pt x="715" y="140"/>
                </a:cubicBezTo>
                <a:cubicBezTo>
                  <a:pt x="699" y="155"/>
                  <a:pt x="677" y="153"/>
                  <a:pt x="656" y="164"/>
                </a:cubicBezTo>
                <a:cubicBezTo>
                  <a:pt x="670" y="175"/>
                  <a:pt x="650" y="167"/>
                  <a:pt x="658" y="181"/>
                </a:cubicBezTo>
                <a:cubicBezTo>
                  <a:pt x="653" y="184"/>
                  <a:pt x="651" y="185"/>
                  <a:pt x="650" y="184"/>
                </a:cubicBezTo>
                <a:lnTo>
                  <a:pt x="631" y="182"/>
                </a:lnTo>
                <a:cubicBezTo>
                  <a:pt x="626" y="180"/>
                  <a:pt x="635" y="177"/>
                  <a:pt x="633" y="174"/>
                </a:cubicBezTo>
                <a:cubicBezTo>
                  <a:pt x="621" y="178"/>
                  <a:pt x="625" y="170"/>
                  <a:pt x="616" y="169"/>
                </a:cubicBezTo>
                <a:cubicBezTo>
                  <a:pt x="620" y="174"/>
                  <a:pt x="616" y="178"/>
                  <a:pt x="609" y="179"/>
                </a:cubicBezTo>
                <a:lnTo>
                  <a:pt x="621" y="182"/>
                </a:lnTo>
                <a:cubicBezTo>
                  <a:pt x="609" y="197"/>
                  <a:pt x="602" y="176"/>
                  <a:pt x="590" y="190"/>
                </a:cubicBezTo>
                <a:lnTo>
                  <a:pt x="593" y="184"/>
                </a:lnTo>
                <a:cubicBezTo>
                  <a:pt x="586" y="190"/>
                  <a:pt x="564" y="197"/>
                  <a:pt x="562" y="212"/>
                </a:cubicBezTo>
                <a:cubicBezTo>
                  <a:pt x="560" y="211"/>
                  <a:pt x="556" y="208"/>
                  <a:pt x="559" y="205"/>
                </a:cubicBezTo>
                <a:cubicBezTo>
                  <a:pt x="540" y="212"/>
                  <a:pt x="523" y="237"/>
                  <a:pt x="506" y="237"/>
                </a:cubicBezTo>
                <a:lnTo>
                  <a:pt x="505" y="232"/>
                </a:lnTo>
                <a:cubicBezTo>
                  <a:pt x="502" y="235"/>
                  <a:pt x="502" y="242"/>
                  <a:pt x="496" y="240"/>
                </a:cubicBezTo>
                <a:cubicBezTo>
                  <a:pt x="496" y="239"/>
                  <a:pt x="496" y="236"/>
                  <a:pt x="494" y="237"/>
                </a:cubicBezTo>
                <a:cubicBezTo>
                  <a:pt x="493" y="239"/>
                  <a:pt x="488" y="247"/>
                  <a:pt x="483" y="247"/>
                </a:cubicBezTo>
                <a:lnTo>
                  <a:pt x="485" y="241"/>
                </a:lnTo>
                <a:cubicBezTo>
                  <a:pt x="464" y="245"/>
                  <a:pt x="461" y="264"/>
                  <a:pt x="447" y="273"/>
                </a:cubicBezTo>
                <a:cubicBezTo>
                  <a:pt x="443" y="263"/>
                  <a:pt x="427" y="266"/>
                  <a:pt x="419" y="267"/>
                </a:cubicBezTo>
                <a:lnTo>
                  <a:pt x="418" y="266"/>
                </a:lnTo>
                <a:cubicBezTo>
                  <a:pt x="397" y="274"/>
                  <a:pt x="386" y="290"/>
                  <a:pt x="369" y="303"/>
                </a:cubicBezTo>
                <a:cubicBezTo>
                  <a:pt x="351" y="297"/>
                  <a:pt x="325" y="316"/>
                  <a:pt x="303" y="317"/>
                </a:cubicBezTo>
                <a:cubicBezTo>
                  <a:pt x="307" y="318"/>
                  <a:pt x="306" y="326"/>
                  <a:pt x="303" y="328"/>
                </a:cubicBezTo>
                <a:cubicBezTo>
                  <a:pt x="297" y="328"/>
                  <a:pt x="293" y="341"/>
                  <a:pt x="290" y="330"/>
                </a:cubicBezTo>
                <a:lnTo>
                  <a:pt x="291" y="330"/>
                </a:lnTo>
                <a:cubicBezTo>
                  <a:pt x="284" y="322"/>
                  <a:pt x="276" y="328"/>
                  <a:pt x="268" y="330"/>
                </a:cubicBezTo>
                <a:lnTo>
                  <a:pt x="272" y="344"/>
                </a:lnTo>
                <a:cubicBezTo>
                  <a:pt x="245" y="332"/>
                  <a:pt x="223" y="369"/>
                  <a:pt x="206" y="355"/>
                </a:cubicBezTo>
                <a:cubicBezTo>
                  <a:pt x="203" y="360"/>
                  <a:pt x="197" y="362"/>
                  <a:pt x="193" y="366"/>
                </a:cubicBezTo>
                <a:lnTo>
                  <a:pt x="191" y="359"/>
                </a:lnTo>
                <a:cubicBezTo>
                  <a:pt x="178" y="361"/>
                  <a:pt x="171" y="362"/>
                  <a:pt x="156" y="367"/>
                </a:cubicBezTo>
                <a:lnTo>
                  <a:pt x="158" y="361"/>
                </a:lnTo>
                <a:cubicBezTo>
                  <a:pt x="149" y="362"/>
                  <a:pt x="151" y="384"/>
                  <a:pt x="142" y="386"/>
                </a:cubicBezTo>
                <a:lnTo>
                  <a:pt x="138" y="376"/>
                </a:lnTo>
                <a:cubicBezTo>
                  <a:pt x="122" y="379"/>
                  <a:pt x="107" y="370"/>
                  <a:pt x="94" y="379"/>
                </a:cubicBezTo>
                <a:cubicBezTo>
                  <a:pt x="95" y="377"/>
                  <a:pt x="95" y="374"/>
                  <a:pt x="97" y="374"/>
                </a:cubicBezTo>
                <a:cubicBezTo>
                  <a:pt x="94" y="373"/>
                  <a:pt x="89" y="371"/>
                  <a:pt x="86" y="370"/>
                </a:cubicBezTo>
                <a:cubicBezTo>
                  <a:pt x="83" y="369"/>
                  <a:pt x="81" y="370"/>
                  <a:pt x="78" y="377"/>
                </a:cubicBezTo>
                <a:cubicBezTo>
                  <a:pt x="82" y="368"/>
                  <a:pt x="73" y="374"/>
                  <a:pt x="67" y="372"/>
                </a:cubicBezTo>
                <a:cubicBezTo>
                  <a:pt x="69" y="371"/>
                  <a:pt x="71" y="370"/>
                  <a:pt x="74" y="368"/>
                </a:cubicBezTo>
                <a:lnTo>
                  <a:pt x="70" y="370"/>
                </a:lnTo>
                <a:lnTo>
                  <a:pt x="170" y="348"/>
                </a:lnTo>
                <a:lnTo>
                  <a:pt x="68" y="367"/>
                </a:lnTo>
                <a:cubicBezTo>
                  <a:pt x="61" y="368"/>
                  <a:pt x="58" y="368"/>
                  <a:pt x="54" y="363"/>
                </a:cubicBezTo>
                <a:cubicBezTo>
                  <a:pt x="55" y="361"/>
                  <a:pt x="60" y="360"/>
                  <a:pt x="58" y="362"/>
                </a:cubicBezTo>
                <a:cubicBezTo>
                  <a:pt x="61" y="357"/>
                  <a:pt x="50" y="360"/>
                  <a:pt x="54" y="352"/>
                </a:cubicBezTo>
                <a:cubicBezTo>
                  <a:pt x="55" y="353"/>
                  <a:pt x="57" y="354"/>
                  <a:pt x="59" y="355"/>
                </a:cubicBezTo>
                <a:cubicBezTo>
                  <a:pt x="59" y="349"/>
                  <a:pt x="57" y="350"/>
                  <a:pt x="52" y="345"/>
                </a:cubicBezTo>
                <a:cubicBezTo>
                  <a:pt x="50" y="340"/>
                  <a:pt x="58" y="332"/>
                  <a:pt x="64" y="334"/>
                </a:cubicBezTo>
                <a:cubicBezTo>
                  <a:pt x="61" y="331"/>
                  <a:pt x="58" y="325"/>
                  <a:pt x="62" y="322"/>
                </a:cubicBezTo>
                <a:cubicBezTo>
                  <a:pt x="64" y="323"/>
                  <a:pt x="65" y="325"/>
                  <a:pt x="65" y="326"/>
                </a:cubicBezTo>
                <a:cubicBezTo>
                  <a:pt x="75" y="318"/>
                  <a:pt x="68" y="304"/>
                  <a:pt x="80" y="301"/>
                </a:cubicBezTo>
                <a:cubicBezTo>
                  <a:pt x="82" y="302"/>
                  <a:pt x="83" y="303"/>
                  <a:pt x="85" y="303"/>
                </a:cubicBezTo>
                <a:cubicBezTo>
                  <a:pt x="78" y="311"/>
                  <a:pt x="73" y="318"/>
                  <a:pt x="73" y="317"/>
                </a:cubicBezTo>
                <a:cubicBezTo>
                  <a:pt x="79" y="320"/>
                  <a:pt x="84" y="315"/>
                  <a:pt x="88" y="325"/>
                </a:cubicBezTo>
                <a:cubicBezTo>
                  <a:pt x="87" y="317"/>
                  <a:pt x="86" y="301"/>
                  <a:pt x="94" y="296"/>
                </a:cubicBezTo>
                <a:lnTo>
                  <a:pt x="96" y="297"/>
                </a:lnTo>
                <a:lnTo>
                  <a:pt x="96" y="298"/>
                </a:lnTo>
                <a:cubicBezTo>
                  <a:pt x="98" y="297"/>
                  <a:pt x="99" y="296"/>
                  <a:pt x="99" y="294"/>
                </a:cubicBezTo>
                <a:cubicBezTo>
                  <a:pt x="102" y="292"/>
                  <a:pt x="103" y="292"/>
                  <a:pt x="105" y="290"/>
                </a:cubicBezTo>
                <a:cubicBezTo>
                  <a:pt x="110" y="293"/>
                  <a:pt x="114" y="285"/>
                  <a:pt x="118" y="282"/>
                </a:cubicBezTo>
                <a:cubicBezTo>
                  <a:pt x="112" y="277"/>
                  <a:pt x="118" y="273"/>
                  <a:pt x="109" y="273"/>
                </a:cubicBezTo>
                <a:cubicBezTo>
                  <a:pt x="110" y="273"/>
                  <a:pt x="109" y="274"/>
                  <a:pt x="107" y="277"/>
                </a:cubicBezTo>
                <a:lnTo>
                  <a:pt x="107" y="278"/>
                </a:lnTo>
                <a:lnTo>
                  <a:pt x="106" y="278"/>
                </a:lnTo>
                <a:lnTo>
                  <a:pt x="99" y="286"/>
                </a:lnTo>
                <a:cubicBezTo>
                  <a:pt x="99" y="281"/>
                  <a:pt x="99" y="276"/>
                  <a:pt x="105" y="275"/>
                </a:cubicBezTo>
                <a:cubicBezTo>
                  <a:pt x="104" y="270"/>
                  <a:pt x="102" y="265"/>
                  <a:pt x="102" y="262"/>
                </a:cubicBezTo>
                <a:cubicBezTo>
                  <a:pt x="113" y="265"/>
                  <a:pt x="126" y="261"/>
                  <a:pt x="132" y="265"/>
                </a:cubicBezTo>
                <a:cubicBezTo>
                  <a:pt x="139" y="253"/>
                  <a:pt x="155" y="242"/>
                  <a:pt x="153" y="225"/>
                </a:cubicBezTo>
                <a:cubicBezTo>
                  <a:pt x="155" y="221"/>
                  <a:pt x="159" y="225"/>
                  <a:pt x="162" y="226"/>
                </a:cubicBezTo>
                <a:cubicBezTo>
                  <a:pt x="161" y="229"/>
                  <a:pt x="159" y="230"/>
                  <a:pt x="159" y="233"/>
                </a:cubicBezTo>
                <a:cubicBezTo>
                  <a:pt x="163" y="225"/>
                  <a:pt x="177" y="217"/>
                  <a:pt x="173" y="208"/>
                </a:cubicBezTo>
                <a:cubicBezTo>
                  <a:pt x="184" y="205"/>
                  <a:pt x="173" y="219"/>
                  <a:pt x="184" y="209"/>
                </a:cubicBezTo>
                <a:lnTo>
                  <a:pt x="184" y="212"/>
                </a:lnTo>
                <a:cubicBezTo>
                  <a:pt x="215" y="209"/>
                  <a:pt x="207" y="166"/>
                  <a:pt x="244" y="165"/>
                </a:cubicBezTo>
                <a:cubicBezTo>
                  <a:pt x="241" y="165"/>
                  <a:pt x="240" y="165"/>
                  <a:pt x="239" y="164"/>
                </a:cubicBezTo>
                <a:cubicBezTo>
                  <a:pt x="273" y="152"/>
                  <a:pt x="296" y="118"/>
                  <a:pt x="333" y="112"/>
                </a:cubicBezTo>
                <a:cubicBezTo>
                  <a:pt x="343" y="109"/>
                  <a:pt x="341" y="103"/>
                  <a:pt x="344" y="96"/>
                </a:cubicBezTo>
                <a:lnTo>
                  <a:pt x="350" y="102"/>
                </a:lnTo>
                <a:lnTo>
                  <a:pt x="354" y="89"/>
                </a:lnTo>
                <a:cubicBezTo>
                  <a:pt x="364" y="75"/>
                  <a:pt x="386" y="93"/>
                  <a:pt x="396" y="73"/>
                </a:cubicBezTo>
                <a:lnTo>
                  <a:pt x="391" y="69"/>
                </a:lnTo>
                <a:cubicBezTo>
                  <a:pt x="397" y="67"/>
                  <a:pt x="408" y="56"/>
                  <a:pt x="410" y="62"/>
                </a:cubicBezTo>
                <a:cubicBezTo>
                  <a:pt x="410" y="61"/>
                  <a:pt x="409" y="56"/>
                  <a:pt x="413" y="57"/>
                </a:cubicBezTo>
                <a:lnTo>
                  <a:pt x="415" y="60"/>
                </a:lnTo>
                <a:lnTo>
                  <a:pt x="426" y="46"/>
                </a:lnTo>
                <a:cubicBezTo>
                  <a:pt x="439" y="42"/>
                  <a:pt x="432" y="62"/>
                  <a:pt x="449" y="53"/>
                </a:cubicBezTo>
                <a:cubicBezTo>
                  <a:pt x="454" y="48"/>
                  <a:pt x="461" y="33"/>
                  <a:pt x="457" y="32"/>
                </a:cubicBezTo>
                <a:cubicBezTo>
                  <a:pt x="454" y="33"/>
                  <a:pt x="449" y="33"/>
                  <a:pt x="447" y="29"/>
                </a:cubicBezTo>
                <a:lnTo>
                  <a:pt x="452" y="24"/>
                </a:lnTo>
                <a:cubicBezTo>
                  <a:pt x="447" y="13"/>
                  <a:pt x="445" y="0"/>
                  <a:pt x="427" y="0"/>
                </a:cubicBezTo>
                <a:lnTo>
                  <a:pt x="421" y="12"/>
                </a:lnTo>
                <a:lnTo>
                  <a:pt x="415" y="8"/>
                </a:lnTo>
                <a:lnTo>
                  <a:pt x="423" y="3"/>
                </a:lnTo>
                <a:cubicBezTo>
                  <a:pt x="416" y="1"/>
                  <a:pt x="415" y="7"/>
                  <a:pt x="414" y="12"/>
                </a:cubicBezTo>
                <a:cubicBezTo>
                  <a:pt x="411" y="9"/>
                  <a:pt x="409" y="8"/>
                  <a:pt x="406" y="8"/>
                </a:cubicBezTo>
                <a:lnTo>
                  <a:pt x="403" y="24"/>
                </a:lnTo>
                <a:cubicBezTo>
                  <a:pt x="399" y="20"/>
                  <a:pt x="402" y="13"/>
                  <a:pt x="395" y="14"/>
                </a:cubicBezTo>
                <a:cubicBezTo>
                  <a:pt x="393" y="21"/>
                  <a:pt x="404" y="21"/>
                  <a:pt x="399" y="29"/>
                </a:cubicBezTo>
                <a:cubicBezTo>
                  <a:pt x="391" y="26"/>
                  <a:pt x="391" y="22"/>
                  <a:pt x="388" y="29"/>
                </a:cubicBezTo>
                <a:cubicBezTo>
                  <a:pt x="385" y="26"/>
                  <a:pt x="385" y="24"/>
                  <a:pt x="387" y="22"/>
                </a:cubicBezTo>
                <a:cubicBezTo>
                  <a:pt x="384" y="28"/>
                  <a:pt x="375" y="30"/>
                  <a:pt x="376" y="37"/>
                </a:cubicBezTo>
                <a:cubicBezTo>
                  <a:pt x="368" y="34"/>
                  <a:pt x="361" y="48"/>
                  <a:pt x="355" y="37"/>
                </a:cubicBezTo>
                <a:cubicBezTo>
                  <a:pt x="355" y="41"/>
                  <a:pt x="352" y="50"/>
                  <a:pt x="347" y="53"/>
                </a:cubicBezTo>
                <a:cubicBezTo>
                  <a:pt x="348" y="36"/>
                  <a:pt x="331" y="62"/>
                  <a:pt x="325" y="48"/>
                </a:cubicBezTo>
                <a:cubicBezTo>
                  <a:pt x="326" y="62"/>
                  <a:pt x="307" y="65"/>
                  <a:pt x="300" y="77"/>
                </a:cubicBezTo>
                <a:lnTo>
                  <a:pt x="301" y="74"/>
                </a:lnTo>
                <a:cubicBezTo>
                  <a:pt x="295" y="76"/>
                  <a:pt x="291" y="74"/>
                  <a:pt x="287" y="74"/>
                </a:cubicBezTo>
                <a:cubicBezTo>
                  <a:pt x="291" y="84"/>
                  <a:pt x="283" y="91"/>
                  <a:pt x="282" y="100"/>
                </a:cubicBezTo>
                <a:cubicBezTo>
                  <a:pt x="269" y="95"/>
                  <a:pt x="280" y="87"/>
                  <a:pt x="273" y="80"/>
                </a:cubicBezTo>
                <a:cubicBezTo>
                  <a:pt x="277" y="87"/>
                  <a:pt x="265" y="94"/>
                  <a:pt x="271" y="99"/>
                </a:cubicBezTo>
                <a:cubicBezTo>
                  <a:pt x="262" y="97"/>
                  <a:pt x="264" y="99"/>
                  <a:pt x="257" y="94"/>
                </a:cubicBezTo>
                <a:cubicBezTo>
                  <a:pt x="263" y="105"/>
                  <a:pt x="253" y="99"/>
                  <a:pt x="253" y="108"/>
                </a:cubicBezTo>
                <a:cubicBezTo>
                  <a:pt x="242" y="108"/>
                  <a:pt x="244" y="99"/>
                  <a:pt x="238" y="108"/>
                </a:cubicBezTo>
                <a:cubicBezTo>
                  <a:pt x="232" y="107"/>
                  <a:pt x="237" y="99"/>
                  <a:pt x="237" y="99"/>
                </a:cubicBezTo>
              </a:path>
            </a:pathLst>
          </a:custGeom>
          <a:solidFill>
            <a:srgbClr val="BDBDBD"/>
          </a:solidFill>
          <a:ln>
            <a:noFill/>
          </a:ln>
        </p:spPr>
        <p:txBody>
          <a:bodyPr spcFirstLastPara="1" wrap="square" lIns="51431" tIns="25706" rIns="51431" bIns="25706" anchor="ctr" anchorCtr="0">
            <a:noAutofit/>
          </a:bodyPr>
          <a:lstStyle/>
          <a:p>
            <a:pPr algn="ctr"/>
            <a:endParaRPr sz="1013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5" name="Google Shape;99;p8"/>
          <p:cNvSpPr/>
          <p:nvPr/>
        </p:nvSpPr>
        <p:spPr>
          <a:xfrm>
            <a:off x="5529625" y="3740890"/>
            <a:ext cx="3614375" cy="543878"/>
          </a:xfrm>
          <a:prstGeom prst="rect">
            <a:avLst/>
          </a:prstGeom>
          <a:solidFill>
            <a:srgbClr val="EB7461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INCREASES BUSINESS ACCURACY</a:t>
            </a:r>
            <a:endParaRPr lang="en-US" sz="1050" dirty="0">
              <a:ea typeface="+mn-ea"/>
            </a:endParaRPr>
          </a:p>
        </p:txBody>
      </p:sp>
      <p:sp>
        <p:nvSpPr>
          <p:cNvPr id="6" name="Google Shape;100;p8"/>
          <p:cNvSpPr/>
          <p:nvPr/>
        </p:nvSpPr>
        <p:spPr>
          <a:xfrm>
            <a:off x="5529625" y="3197013"/>
            <a:ext cx="3614375" cy="543878"/>
          </a:xfrm>
          <a:prstGeom prst="rect">
            <a:avLst/>
          </a:prstGeom>
          <a:solidFill>
            <a:srgbClr val="C6D4A4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REDUCES THE BUSINESS COSTS</a:t>
            </a:r>
            <a:endParaRPr lang="en-US" sz="1050" dirty="0">
              <a:ea typeface="+mn-ea"/>
            </a:endParaRPr>
          </a:p>
        </p:txBody>
      </p:sp>
      <p:sp>
        <p:nvSpPr>
          <p:cNvPr id="7" name="Google Shape;101;p8"/>
          <p:cNvSpPr/>
          <p:nvPr/>
        </p:nvSpPr>
        <p:spPr>
          <a:xfrm>
            <a:off x="5529625" y="2653135"/>
            <a:ext cx="3614375" cy="543878"/>
          </a:xfrm>
          <a:prstGeom prst="rect">
            <a:avLst/>
          </a:prstGeom>
          <a:solidFill>
            <a:srgbClr val="FABE77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+mn-ea"/>
                <a:cs typeface="Arial" panose="020B0604020202020204" pitchFamily="34" charset="0"/>
                <a:sym typeface="Calibri"/>
              </a:rPr>
              <a:t>FASTER THAN AN FTE</a:t>
            </a:r>
            <a:endParaRPr lang="en-US" sz="1050" dirty="0">
              <a:ea typeface="+mn-ea"/>
            </a:endParaRPr>
          </a:p>
        </p:txBody>
      </p:sp>
      <p:sp>
        <p:nvSpPr>
          <p:cNvPr id="8" name="Google Shape;102;p8"/>
          <p:cNvSpPr/>
          <p:nvPr/>
        </p:nvSpPr>
        <p:spPr>
          <a:xfrm>
            <a:off x="5529625" y="2109258"/>
            <a:ext cx="3614375" cy="543878"/>
          </a:xfrm>
          <a:prstGeom prst="rect">
            <a:avLst/>
          </a:prstGeom>
          <a:solidFill>
            <a:srgbClr val="789BC4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INCREASE MANPOWER EFFICIENCY</a:t>
            </a:r>
            <a:endParaRPr lang="en-US" sz="1050" dirty="0">
              <a:ea typeface="+mn-ea"/>
            </a:endParaRPr>
          </a:p>
        </p:txBody>
      </p:sp>
      <p:sp>
        <p:nvSpPr>
          <p:cNvPr id="9" name="Google Shape;103;p8"/>
          <p:cNvSpPr/>
          <p:nvPr/>
        </p:nvSpPr>
        <p:spPr>
          <a:xfrm>
            <a:off x="5529625" y="1565380"/>
            <a:ext cx="3614375" cy="543878"/>
          </a:xfrm>
          <a:prstGeom prst="rect">
            <a:avLst/>
          </a:prstGeom>
          <a:solidFill>
            <a:srgbClr val="92D9F5"/>
          </a:solidFill>
          <a:ln>
            <a:noFill/>
          </a:ln>
        </p:spPr>
        <p:txBody>
          <a:bodyPr spcFirstLastPara="1" wrap="square" lIns="137156" tIns="28575" rIns="137156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PERFORMS HIGH-VOLUME REPETITIVE TASKS</a:t>
            </a:r>
            <a:endParaRPr sz="1050" dirty="0">
              <a:ea typeface="+mn-ea"/>
            </a:endParaRPr>
          </a:p>
        </p:txBody>
      </p:sp>
      <p:sp>
        <p:nvSpPr>
          <p:cNvPr id="10" name="Google Shape;104;p8"/>
          <p:cNvSpPr/>
          <p:nvPr/>
        </p:nvSpPr>
        <p:spPr>
          <a:xfrm>
            <a:off x="0" y="3740890"/>
            <a:ext cx="3614375" cy="543878"/>
          </a:xfrm>
          <a:prstGeom prst="rect">
            <a:avLst/>
          </a:prstGeom>
          <a:solidFill>
            <a:srgbClr val="C13018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350" b="1" dirty="0">
                <a:solidFill>
                  <a:srgbClr val="FFFFFF"/>
                </a:solidFill>
                <a:ea typeface="+mn-ea"/>
                <a:cs typeface="Arial" panose="020B0604020202020204" pitchFamily="34" charset="0"/>
                <a:sym typeface="Calibri"/>
              </a:rPr>
              <a:t>SCHEDUL-TRIGGERED</a:t>
            </a:r>
          </a:p>
          <a:p>
            <a:pPr>
              <a:buFontTx/>
              <a:buNone/>
            </a:pPr>
            <a:r>
              <a:rPr lang="en-US" sz="1350" b="1" dirty="0">
                <a:solidFill>
                  <a:srgbClr val="FFFFFF"/>
                </a:solidFill>
                <a:ea typeface="+mn-ea"/>
                <a:cs typeface="Arial" panose="020B0604020202020204" pitchFamily="34" charset="0"/>
                <a:sym typeface="Calibri"/>
              </a:rPr>
              <a:t>OR MANUALLY TRIGGERED</a:t>
            </a:r>
            <a:endParaRPr sz="15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Google Shape;105;p8"/>
          <p:cNvSpPr/>
          <p:nvPr/>
        </p:nvSpPr>
        <p:spPr>
          <a:xfrm>
            <a:off x="0" y="3197013"/>
            <a:ext cx="3614375" cy="543878"/>
          </a:xfrm>
          <a:prstGeom prst="rect">
            <a:avLst/>
          </a:prstGeom>
          <a:solidFill>
            <a:srgbClr val="A2B969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defRPr/>
            </a:pPr>
            <a:r>
              <a:rPr lang="en-US" sz="1500" b="1" dirty="0">
                <a:solidFill>
                  <a:srgbClr val="3F3F3F"/>
                </a:solidFill>
                <a:ea typeface="+mn-ea"/>
                <a:cs typeface="Arial" panose="020B0604020202020204" pitchFamily="34" charset="0"/>
                <a:sym typeface="Calibri"/>
              </a:rPr>
              <a:t>CROSS FUNCTIONAL &amp; </a:t>
            </a:r>
          </a:p>
          <a:p>
            <a:pPr>
              <a:defRPr/>
            </a:pPr>
            <a:r>
              <a:rPr lang="en-US" sz="1500" b="1" dirty="0">
                <a:solidFill>
                  <a:srgbClr val="3F3F3F"/>
                </a:solidFill>
                <a:ea typeface="+mn-ea"/>
                <a:cs typeface="Arial" panose="020B0604020202020204" pitchFamily="34" charset="0"/>
                <a:sym typeface="Calibri"/>
              </a:rPr>
              <a:t>CROSS APPLICATION</a:t>
            </a:r>
            <a:endParaRPr sz="15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Google Shape;106;p8"/>
          <p:cNvSpPr/>
          <p:nvPr/>
        </p:nvSpPr>
        <p:spPr>
          <a:xfrm>
            <a:off x="0" y="2653135"/>
            <a:ext cx="3614375" cy="543878"/>
          </a:xfrm>
          <a:prstGeom prst="rect">
            <a:avLst/>
          </a:prstGeom>
          <a:solidFill>
            <a:srgbClr val="F7931F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SCALABLE</a:t>
            </a:r>
            <a:endParaRPr sz="15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Google Shape;107;p8"/>
          <p:cNvSpPr/>
          <p:nvPr/>
        </p:nvSpPr>
        <p:spPr>
          <a:xfrm>
            <a:off x="0" y="2109258"/>
            <a:ext cx="3614375" cy="543878"/>
          </a:xfrm>
          <a:prstGeom prst="rect">
            <a:avLst/>
          </a:prstGeom>
          <a:solidFill>
            <a:srgbClr val="3A5C84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FFFFFF"/>
                </a:solidFill>
                <a:ea typeface="Calibri"/>
                <a:cs typeface="Arial" panose="020B0604020202020204" pitchFamily="34" charset="0"/>
                <a:sym typeface="Calibri"/>
              </a:rPr>
              <a:t>RULE-BASED ROBOT</a:t>
            </a:r>
            <a:endParaRPr sz="15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Google Shape;108;p8"/>
          <p:cNvSpPr/>
          <p:nvPr/>
        </p:nvSpPr>
        <p:spPr>
          <a:xfrm>
            <a:off x="0" y="1565380"/>
            <a:ext cx="3614375" cy="543878"/>
          </a:xfrm>
          <a:prstGeom prst="rect">
            <a:avLst/>
          </a:prstGeom>
          <a:solidFill>
            <a:srgbClr val="4CC1EF"/>
          </a:solidFill>
          <a:ln>
            <a:noFill/>
          </a:ln>
        </p:spPr>
        <p:txBody>
          <a:bodyPr spcFirstLastPara="1" wrap="square" lIns="480056" tIns="28575" rIns="28575" bIns="28575" anchor="ctr" anchorCtr="0">
            <a:noAutofit/>
          </a:bodyPr>
          <a:lstStyle/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COMPUTER-CODED</a:t>
            </a:r>
          </a:p>
          <a:p>
            <a:pPr>
              <a:buFontTx/>
              <a:buNone/>
            </a:pPr>
            <a:r>
              <a:rPr lang="en-US" sz="1500" b="1" dirty="0">
                <a:solidFill>
                  <a:srgbClr val="3F3F3F"/>
                </a:solidFill>
                <a:ea typeface="Calibri"/>
                <a:cs typeface="Arial" panose="020B0604020202020204" pitchFamily="34" charset="0"/>
                <a:sym typeface="Calibri"/>
              </a:rPr>
              <a:t>SOFTWARE</a:t>
            </a:r>
          </a:p>
        </p:txBody>
      </p:sp>
      <p:grpSp>
        <p:nvGrpSpPr>
          <p:cNvPr id="15" name="Google Shape;109;p8"/>
          <p:cNvGrpSpPr/>
          <p:nvPr/>
        </p:nvGrpSpPr>
        <p:grpSpPr>
          <a:xfrm>
            <a:off x="5423479" y="1565380"/>
            <a:ext cx="111175" cy="2719388"/>
            <a:chOff x="7231305" y="1725224"/>
            <a:chExt cx="148233" cy="3625850"/>
          </a:xfrm>
        </p:grpSpPr>
        <p:sp>
          <p:nvSpPr>
            <p:cNvPr id="16" name="Google Shape;110;p8"/>
            <p:cNvSpPr/>
            <p:nvPr/>
          </p:nvSpPr>
          <p:spPr>
            <a:xfrm>
              <a:off x="7231305" y="4625904"/>
              <a:ext cx="148233" cy="725170"/>
            </a:xfrm>
            <a:prstGeom prst="rect">
              <a:avLst/>
            </a:prstGeom>
            <a:solidFill>
              <a:srgbClr val="C13018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11;p8"/>
            <p:cNvSpPr/>
            <p:nvPr/>
          </p:nvSpPr>
          <p:spPr>
            <a:xfrm>
              <a:off x="7231305" y="3900734"/>
              <a:ext cx="148233" cy="725170"/>
            </a:xfrm>
            <a:prstGeom prst="rect">
              <a:avLst/>
            </a:prstGeom>
            <a:solidFill>
              <a:srgbClr val="A2B969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12;p8"/>
            <p:cNvSpPr/>
            <p:nvPr/>
          </p:nvSpPr>
          <p:spPr>
            <a:xfrm>
              <a:off x="7231305" y="3175564"/>
              <a:ext cx="148233" cy="725170"/>
            </a:xfrm>
            <a:prstGeom prst="rect">
              <a:avLst/>
            </a:prstGeom>
            <a:solidFill>
              <a:srgbClr val="F7931F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13;p8"/>
            <p:cNvSpPr/>
            <p:nvPr/>
          </p:nvSpPr>
          <p:spPr>
            <a:xfrm>
              <a:off x="7231305" y="2450394"/>
              <a:ext cx="148233" cy="725170"/>
            </a:xfrm>
            <a:prstGeom prst="rect">
              <a:avLst/>
            </a:prstGeom>
            <a:solidFill>
              <a:srgbClr val="3A5C84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114;p8"/>
            <p:cNvSpPr/>
            <p:nvPr/>
          </p:nvSpPr>
          <p:spPr>
            <a:xfrm>
              <a:off x="7231305" y="1725224"/>
              <a:ext cx="148233" cy="725170"/>
            </a:xfrm>
            <a:prstGeom prst="rect">
              <a:avLst/>
            </a:prstGeom>
            <a:solidFill>
              <a:srgbClr val="4CC1EF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>
                <a:defRPr/>
              </a:pPr>
              <a:endParaRPr sz="2700" b="1"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1" name="Google Shape;115;p8"/>
          <p:cNvGrpSpPr/>
          <p:nvPr/>
        </p:nvGrpSpPr>
        <p:grpSpPr>
          <a:xfrm>
            <a:off x="2952748" y="1565380"/>
            <a:ext cx="767771" cy="2719388"/>
            <a:chOff x="7231305" y="1725224"/>
            <a:chExt cx="148233" cy="3625850"/>
          </a:xfrm>
        </p:grpSpPr>
        <p:sp>
          <p:nvSpPr>
            <p:cNvPr id="22" name="Google Shape;116;p8"/>
            <p:cNvSpPr/>
            <p:nvPr/>
          </p:nvSpPr>
          <p:spPr>
            <a:xfrm>
              <a:off x="7231305" y="4625904"/>
              <a:ext cx="148233" cy="725170"/>
            </a:xfrm>
            <a:prstGeom prst="rect">
              <a:avLst/>
            </a:prstGeom>
            <a:solidFill>
              <a:srgbClr val="902411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Google Shape;117;p8"/>
            <p:cNvSpPr/>
            <p:nvPr/>
          </p:nvSpPr>
          <p:spPr>
            <a:xfrm>
              <a:off x="7231305" y="3900734"/>
              <a:ext cx="148233" cy="725170"/>
            </a:xfrm>
            <a:prstGeom prst="rect">
              <a:avLst/>
            </a:prstGeom>
            <a:solidFill>
              <a:srgbClr val="7D9445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118;p8"/>
            <p:cNvSpPr/>
            <p:nvPr/>
          </p:nvSpPr>
          <p:spPr>
            <a:xfrm>
              <a:off x="7231305" y="3175564"/>
              <a:ext cx="148233" cy="725170"/>
            </a:xfrm>
            <a:prstGeom prst="rect">
              <a:avLst/>
            </a:prstGeom>
            <a:solidFill>
              <a:srgbClr val="C96F07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119;p8"/>
            <p:cNvSpPr/>
            <p:nvPr/>
          </p:nvSpPr>
          <p:spPr>
            <a:xfrm>
              <a:off x="7231305" y="2450394"/>
              <a:ext cx="148233" cy="725170"/>
            </a:xfrm>
            <a:prstGeom prst="rect">
              <a:avLst/>
            </a:prstGeom>
            <a:solidFill>
              <a:srgbClr val="2B4563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6" name="Google Shape;120;p8"/>
            <p:cNvSpPr/>
            <p:nvPr/>
          </p:nvSpPr>
          <p:spPr>
            <a:xfrm>
              <a:off x="7231305" y="1725224"/>
              <a:ext cx="148233" cy="725170"/>
            </a:xfrm>
            <a:prstGeom prst="rect">
              <a:avLst/>
            </a:prstGeom>
            <a:solidFill>
              <a:srgbClr val="13A1D8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1500" b="1"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27" name="Google Shape;121;p8"/>
          <p:cNvGrpSpPr/>
          <p:nvPr/>
        </p:nvGrpSpPr>
        <p:grpSpPr>
          <a:xfrm>
            <a:off x="4073365" y="1009696"/>
            <a:ext cx="987552" cy="553784"/>
            <a:chOff x="5431153" y="985325"/>
            <a:chExt cx="1316736" cy="738378"/>
          </a:xfrm>
        </p:grpSpPr>
        <p:sp>
          <p:nvSpPr>
            <p:cNvPr id="28" name="Google Shape;122;p8"/>
            <p:cNvSpPr/>
            <p:nvPr/>
          </p:nvSpPr>
          <p:spPr>
            <a:xfrm>
              <a:off x="5431153" y="985325"/>
              <a:ext cx="1316736" cy="356871"/>
            </a:xfrm>
            <a:custGeom>
              <a:avLst/>
              <a:gdLst/>
              <a:ahLst/>
              <a:cxnLst/>
              <a:rect l="l" t="t" r="r" b="b"/>
              <a:pathLst>
                <a:path w="1312397" h="356871" extrusionOk="0">
                  <a:moveTo>
                    <a:pt x="353576" y="0"/>
                  </a:moveTo>
                  <a:lnTo>
                    <a:pt x="578807" y="0"/>
                  </a:lnTo>
                  <a:lnTo>
                    <a:pt x="580072" y="0"/>
                  </a:lnTo>
                  <a:lnTo>
                    <a:pt x="960079" y="0"/>
                  </a:lnTo>
                  <a:cubicBezTo>
                    <a:pt x="1058201" y="0"/>
                    <a:pt x="1146325" y="39371"/>
                    <a:pt x="1209233" y="104137"/>
                  </a:cubicBezTo>
                  <a:cubicBezTo>
                    <a:pt x="1272140" y="170175"/>
                    <a:pt x="1312397" y="259079"/>
                    <a:pt x="1312397" y="356871"/>
                  </a:cubicBezTo>
                  <a:lnTo>
                    <a:pt x="341007" y="356871"/>
                  </a:lnTo>
                  <a:lnTo>
                    <a:pt x="339740" y="356871"/>
                  </a:lnTo>
                  <a:lnTo>
                    <a:pt x="0" y="356871"/>
                  </a:lnTo>
                  <a:cubicBezTo>
                    <a:pt x="0" y="158758"/>
                    <a:pt x="158553" y="0"/>
                    <a:pt x="353576" y="0"/>
                  </a:cubicBezTo>
                  <a:close/>
                </a:path>
              </a:pathLst>
            </a:custGeom>
            <a:gradFill>
              <a:gsLst>
                <a:gs pos="0">
                  <a:srgbClr val="D86AA6"/>
                </a:gs>
                <a:gs pos="14000">
                  <a:srgbClr val="D86AA6"/>
                </a:gs>
                <a:gs pos="33000">
                  <a:srgbClr val="DF84B5"/>
                </a:gs>
                <a:gs pos="66340">
                  <a:srgbClr val="F59EC6"/>
                </a:gs>
                <a:gs pos="100000">
                  <a:srgbClr val="F59EC6"/>
                </a:gs>
              </a:gsLst>
              <a:lin ang="10800000" scaled="0"/>
            </a:gra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endParaRPr sz="2700" b="1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23;p8"/>
            <p:cNvSpPr/>
            <p:nvPr/>
          </p:nvSpPr>
          <p:spPr>
            <a:xfrm>
              <a:off x="5431153" y="1369628"/>
              <a:ext cx="1316736" cy="322581"/>
            </a:xfrm>
            <a:prstGeom prst="rect">
              <a:avLst/>
            </a:prstGeom>
            <a:gradFill>
              <a:gsLst>
                <a:gs pos="0">
                  <a:srgbClr val="595959"/>
                </a:gs>
                <a:gs pos="33000">
                  <a:srgbClr val="7F7F7F"/>
                </a:gs>
                <a:gs pos="66340">
                  <a:srgbClr val="7F7F7F"/>
                </a:gs>
                <a:gs pos="100000">
                  <a:srgbClr val="9E9E9E"/>
                </a:gs>
              </a:gsLst>
              <a:lin ang="10800000" scaled="0"/>
            </a:gra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pPr algn="ctr"/>
              <a:endParaRPr sz="2700" b="1">
                <a:solidFill>
                  <a:srgbClr val="FFFFFF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124;p8"/>
            <p:cNvSpPr/>
            <p:nvPr/>
          </p:nvSpPr>
          <p:spPr>
            <a:xfrm>
              <a:off x="5431153" y="1340925"/>
              <a:ext cx="1316736" cy="36576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lnTo>
                    <a:pt x="5602" y="0"/>
                  </a:lnTo>
                  <a:close/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endParaRPr sz="1350"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25;p8"/>
            <p:cNvSpPr/>
            <p:nvPr/>
          </p:nvSpPr>
          <p:spPr>
            <a:xfrm>
              <a:off x="5431153" y="1687127"/>
              <a:ext cx="1316736" cy="36576"/>
            </a:xfrm>
            <a:prstGeom prst="rect">
              <a:avLst/>
            </a:prstGeom>
            <a:solidFill>
              <a:srgbClr val="3F3F3F"/>
            </a:solidFill>
            <a:ln>
              <a:noFill/>
            </a:ln>
          </p:spPr>
          <p:txBody>
            <a:bodyPr spcFirstLastPara="1" wrap="square" lIns="28575" tIns="28575" rIns="28575" bIns="28575" anchor="ctr" anchorCtr="0">
              <a:noAutofit/>
            </a:bodyPr>
            <a:lstStyle/>
            <a:p>
              <a:endParaRPr sz="1350"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" name="Google Shape;126;p8"/>
          <p:cNvSpPr/>
          <p:nvPr/>
        </p:nvSpPr>
        <p:spPr>
          <a:xfrm>
            <a:off x="4073365" y="3740893"/>
            <a:ext cx="987552" cy="543878"/>
          </a:xfrm>
          <a:prstGeom prst="rect">
            <a:avLst/>
          </a:prstGeom>
          <a:gradFill>
            <a:gsLst>
              <a:gs pos="0">
                <a:srgbClr val="902411"/>
              </a:gs>
              <a:gs pos="33000">
                <a:srgbClr val="C13018"/>
              </a:gs>
              <a:gs pos="66340">
                <a:srgbClr val="C13018"/>
              </a:gs>
              <a:gs pos="100000">
                <a:srgbClr val="EB7461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5</a:t>
            </a:r>
            <a:endParaRPr sz="2700" b="1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127;p8"/>
          <p:cNvSpPr/>
          <p:nvPr/>
        </p:nvSpPr>
        <p:spPr>
          <a:xfrm>
            <a:off x="4073365" y="3197016"/>
            <a:ext cx="987552" cy="543878"/>
          </a:xfrm>
          <a:prstGeom prst="rect">
            <a:avLst/>
          </a:prstGeom>
          <a:gradFill>
            <a:gsLst>
              <a:gs pos="0">
                <a:srgbClr val="7D9445"/>
              </a:gs>
              <a:gs pos="33000">
                <a:srgbClr val="A2B969"/>
              </a:gs>
              <a:gs pos="66340">
                <a:srgbClr val="A2B969"/>
              </a:gs>
              <a:gs pos="100000">
                <a:srgbClr val="C6D4A4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4</a:t>
            </a:r>
            <a:endParaRPr sz="2700" b="1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128;p8"/>
          <p:cNvSpPr/>
          <p:nvPr/>
        </p:nvSpPr>
        <p:spPr>
          <a:xfrm>
            <a:off x="4073365" y="2653138"/>
            <a:ext cx="987552" cy="543878"/>
          </a:xfrm>
          <a:prstGeom prst="rect">
            <a:avLst/>
          </a:prstGeom>
          <a:gradFill>
            <a:gsLst>
              <a:gs pos="0">
                <a:srgbClr val="C96F07"/>
              </a:gs>
              <a:gs pos="33000">
                <a:srgbClr val="F7931F"/>
              </a:gs>
              <a:gs pos="66340">
                <a:srgbClr val="F7931F"/>
              </a:gs>
              <a:gs pos="100000">
                <a:srgbClr val="FABE77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3</a:t>
            </a:r>
            <a:endParaRPr sz="2700" b="1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129;p8"/>
          <p:cNvSpPr/>
          <p:nvPr/>
        </p:nvSpPr>
        <p:spPr>
          <a:xfrm>
            <a:off x="4073365" y="2109261"/>
            <a:ext cx="987552" cy="543878"/>
          </a:xfrm>
          <a:prstGeom prst="rect">
            <a:avLst/>
          </a:prstGeom>
          <a:gradFill>
            <a:gsLst>
              <a:gs pos="0">
                <a:srgbClr val="2B4563"/>
              </a:gs>
              <a:gs pos="33000">
                <a:srgbClr val="3A5C84"/>
              </a:gs>
              <a:gs pos="66340">
                <a:srgbClr val="3A5C84"/>
              </a:gs>
              <a:gs pos="100000">
                <a:srgbClr val="789BC4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2</a:t>
            </a:r>
            <a:endParaRPr sz="2700" b="1" dirty="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130;p8"/>
          <p:cNvSpPr/>
          <p:nvPr/>
        </p:nvSpPr>
        <p:spPr>
          <a:xfrm>
            <a:off x="4073365" y="1563480"/>
            <a:ext cx="987552" cy="545781"/>
          </a:xfrm>
          <a:prstGeom prst="rect">
            <a:avLst/>
          </a:prstGeom>
          <a:gradFill>
            <a:gsLst>
              <a:gs pos="0">
                <a:srgbClr val="118FC1"/>
              </a:gs>
              <a:gs pos="33000">
                <a:srgbClr val="4CC1EF"/>
              </a:gs>
              <a:gs pos="66340">
                <a:srgbClr val="4CC1EF"/>
              </a:gs>
              <a:gs pos="100000">
                <a:srgbClr val="92D9F5"/>
              </a:gs>
            </a:gsLst>
            <a:lin ang="108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pPr algn="ctr">
              <a:defRPr/>
            </a:pPr>
            <a:r>
              <a:rPr lang="en-US" sz="2700" b="1" dirty="0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01</a:t>
            </a:r>
            <a:endParaRPr sz="2700" b="1" dirty="0"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131;p8"/>
          <p:cNvSpPr/>
          <p:nvPr/>
        </p:nvSpPr>
        <p:spPr>
          <a:xfrm rot="10800000" flipH="1">
            <a:off x="4309579" y="4549203"/>
            <a:ext cx="516269" cy="288055"/>
          </a:xfrm>
          <a:custGeom>
            <a:avLst/>
            <a:gdLst/>
            <a:ahLst/>
            <a:cxnLst/>
            <a:rect l="l" t="t" r="r" b="b"/>
            <a:pathLst>
              <a:path w="688358" h="384073" extrusionOk="0">
                <a:moveTo>
                  <a:pt x="0" y="384073"/>
                </a:moveTo>
                <a:lnTo>
                  <a:pt x="179245" y="384073"/>
                </a:lnTo>
                <a:lnTo>
                  <a:pt x="509112" y="384073"/>
                </a:lnTo>
                <a:lnTo>
                  <a:pt x="688358" y="384073"/>
                </a:lnTo>
                <a:lnTo>
                  <a:pt x="688317" y="384027"/>
                </a:lnTo>
                <a:lnTo>
                  <a:pt x="346838" y="2968"/>
                </a:lnTo>
                <a:lnTo>
                  <a:pt x="344179" y="0"/>
                </a:lnTo>
                <a:lnTo>
                  <a:pt x="341516" y="2972"/>
                </a:lnTo>
                <a:close/>
              </a:path>
            </a:pathLst>
          </a:custGeom>
          <a:gradFill>
            <a:gsLst>
              <a:gs pos="0">
                <a:srgbClr val="696969"/>
              </a:gs>
              <a:gs pos="23000">
                <a:srgbClr val="696969"/>
              </a:gs>
              <a:gs pos="51000">
                <a:srgbClr val="9E9E9E"/>
              </a:gs>
              <a:gs pos="100000">
                <a:srgbClr val="BDBDBD"/>
              </a:gs>
            </a:gsLst>
            <a:lin ang="9600000" scaled="0"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8" name="Google Shape;132;p8"/>
          <p:cNvSpPr/>
          <p:nvPr/>
        </p:nvSpPr>
        <p:spPr>
          <a:xfrm rot="10800000" flipH="1">
            <a:off x="4074622" y="4284770"/>
            <a:ext cx="986183" cy="264433"/>
          </a:xfrm>
          <a:custGeom>
            <a:avLst/>
            <a:gdLst/>
            <a:ahLst/>
            <a:cxnLst/>
            <a:rect l="l" t="t" r="r" b="b"/>
            <a:pathLst>
              <a:path w="1314911" h="352577" extrusionOk="0">
                <a:moveTo>
                  <a:pt x="0" y="352577"/>
                </a:moveTo>
                <a:lnTo>
                  <a:pt x="1314911" y="352577"/>
                </a:lnTo>
                <a:lnTo>
                  <a:pt x="1001635" y="0"/>
                </a:lnTo>
                <a:lnTo>
                  <a:pt x="822389" y="0"/>
                </a:lnTo>
                <a:lnTo>
                  <a:pt x="492522" y="0"/>
                </a:lnTo>
                <a:lnTo>
                  <a:pt x="313277" y="0"/>
                </a:lnTo>
                <a:lnTo>
                  <a:pt x="0" y="352577"/>
                </a:lnTo>
                <a:close/>
              </a:path>
            </a:pathLst>
          </a:custGeom>
          <a:gradFill>
            <a:gsLst>
              <a:gs pos="0">
                <a:srgbClr val="DA7D3E"/>
              </a:gs>
              <a:gs pos="33000">
                <a:srgbClr val="E7A980"/>
              </a:gs>
              <a:gs pos="66340">
                <a:srgbClr val="E7A980"/>
              </a:gs>
              <a:gs pos="100000">
                <a:srgbClr val="E7A980"/>
              </a:gs>
            </a:gsLst>
            <a:lin ang="11400000" scaled="0"/>
          </a:gra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2700" b="1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133;p8" descr="Puzzle"/>
          <p:cNvSpPr/>
          <p:nvPr/>
        </p:nvSpPr>
        <p:spPr>
          <a:xfrm>
            <a:off x="3148605" y="2183764"/>
            <a:ext cx="376063" cy="376063"/>
          </a:xfrm>
          <a:custGeom>
            <a:avLst/>
            <a:gdLst/>
            <a:ahLst/>
            <a:cxnLst/>
            <a:rect l="l" t="t" r="r" b="b"/>
            <a:pathLst>
              <a:path w="501416" h="501416" extrusionOk="0">
                <a:moveTo>
                  <a:pt x="324041" y="380450"/>
                </a:moveTo>
                <a:cubicBezTo>
                  <a:pt x="282674" y="381703"/>
                  <a:pt x="267631" y="328428"/>
                  <a:pt x="297089" y="297716"/>
                </a:cubicBezTo>
                <a:lnTo>
                  <a:pt x="301477" y="293329"/>
                </a:lnTo>
                <a:cubicBezTo>
                  <a:pt x="332189" y="263871"/>
                  <a:pt x="386718" y="277659"/>
                  <a:pt x="385464" y="319026"/>
                </a:cubicBezTo>
                <a:cubicBezTo>
                  <a:pt x="384837" y="342844"/>
                  <a:pt x="413042" y="371675"/>
                  <a:pt x="429965" y="354752"/>
                </a:cubicBezTo>
                <a:lnTo>
                  <a:pt x="501417" y="283300"/>
                </a:lnTo>
                <a:lnTo>
                  <a:pt x="394866" y="176749"/>
                </a:lnTo>
                <a:cubicBezTo>
                  <a:pt x="377943" y="159827"/>
                  <a:pt x="406774" y="131622"/>
                  <a:pt x="430592" y="132249"/>
                </a:cubicBezTo>
                <a:cubicBezTo>
                  <a:pt x="471958" y="133502"/>
                  <a:pt x="485747" y="78973"/>
                  <a:pt x="456289" y="48261"/>
                </a:cubicBezTo>
                <a:lnTo>
                  <a:pt x="451902" y="43874"/>
                </a:lnTo>
                <a:cubicBezTo>
                  <a:pt x="421190" y="14416"/>
                  <a:pt x="367914" y="29458"/>
                  <a:pt x="369168" y="70825"/>
                </a:cubicBezTo>
                <a:cubicBezTo>
                  <a:pt x="369795" y="94642"/>
                  <a:pt x="341590" y="123474"/>
                  <a:pt x="324667" y="106551"/>
                </a:cubicBezTo>
                <a:lnTo>
                  <a:pt x="218116" y="0"/>
                </a:lnTo>
                <a:lnTo>
                  <a:pt x="146038" y="71452"/>
                </a:lnTo>
                <a:cubicBezTo>
                  <a:pt x="129115" y="88375"/>
                  <a:pt x="157946" y="116579"/>
                  <a:pt x="181764" y="115953"/>
                </a:cubicBezTo>
                <a:cubicBezTo>
                  <a:pt x="223130" y="114699"/>
                  <a:pt x="238173" y="167975"/>
                  <a:pt x="208715" y="198686"/>
                </a:cubicBezTo>
                <a:lnTo>
                  <a:pt x="204327" y="203074"/>
                </a:lnTo>
                <a:cubicBezTo>
                  <a:pt x="173616" y="232532"/>
                  <a:pt x="119086" y="218743"/>
                  <a:pt x="120340" y="177376"/>
                </a:cubicBezTo>
                <a:cubicBezTo>
                  <a:pt x="120967" y="153559"/>
                  <a:pt x="92762" y="124727"/>
                  <a:pt x="75839" y="141650"/>
                </a:cubicBezTo>
                <a:lnTo>
                  <a:pt x="0" y="218116"/>
                </a:lnTo>
                <a:lnTo>
                  <a:pt x="106551" y="324667"/>
                </a:lnTo>
                <a:cubicBezTo>
                  <a:pt x="123474" y="341590"/>
                  <a:pt x="94642" y="369795"/>
                  <a:pt x="70825" y="369168"/>
                </a:cubicBezTo>
                <a:cubicBezTo>
                  <a:pt x="29458" y="367914"/>
                  <a:pt x="15669" y="422444"/>
                  <a:pt x="45128" y="453155"/>
                </a:cubicBezTo>
                <a:lnTo>
                  <a:pt x="49515" y="457543"/>
                </a:lnTo>
                <a:cubicBezTo>
                  <a:pt x="80227" y="487001"/>
                  <a:pt x="133502" y="471958"/>
                  <a:pt x="132249" y="430592"/>
                </a:cubicBezTo>
                <a:cubicBezTo>
                  <a:pt x="131622" y="406774"/>
                  <a:pt x="159827" y="377943"/>
                  <a:pt x="176749" y="394866"/>
                </a:cubicBezTo>
                <a:lnTo>
                  <a:pt x="283300" y="501417"/>
                </a:lnTo>
                <a:lnTo>
                  <a:pt x="359766" y="424951"/>
                </a:lnTo>
                <a:cubicBezTo>
                  <a:pt x="376689" y="408028"/>
                  <a:pt x="348485" y="379823"/>
                  <a:pt x="324041" y="3804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0" name="Google Shape;134;p8"/>
          <p:cNvSpPr/>
          <p:nvPr/>
        </p:nvSpPr>
        <p:spPr>
          <a:xfrm>
            <a:off x="3148604" y="2793453"/>
            <a:ext cx="376062" cy="263245"/>
          </a:xfrm>
          <a:custGeom>
            <a:avLst/>
            <a:gdLst/>
            <a:ahLst/>
            <a:cxnLst/>
            <a:rect l="l" t="t" r="r" b="b"/>
            <a:pathLst>
              <a:path w="501416" h="350993" extrusionOk="0">
                <a:moveTo>
                  <a:pt x="213102" y="68945"/>
                </a:moveTo>
                <a:lnTo>
                  <a:pt x="476346" y="68945"/>
                </a:lnTo>
                <a:cubicBezTo>
                  <a:pt x="490135" y="68945"/>
                  <a:pt x="501416" y="80227"/>
                  <a:pt x="501416" y="94016"/>
                </a:cubicBezTo>
                <a:lnTo>
                  <a:pt x="501416" y="263245"/>
                </a:lnTo>
                <a:cubicBezTo>
                  <a:pt x="501416" y="277034"/>
                  <a:pt x="490135" y="288316"/>
                  <a:pt x="476346" y="288316"/>
                </a:cubicBezTo>
                <a:lnTo>
                  <a:pt x="438739" y="288316"/>
                </a:lnTo>
                <a:lnTo>
                  <a:pt x="438739" y="350993"/>
                </a:lnTo>
                <a:lnTo>
                  <a:pt x="376062" y="288316"/>
                </a:lnTo>
                <a:lnTo>
                  <a:pt x="213102" y="288316"/>
                </a:lnTo>
                <a:cubicBezTo>
                  <a:pt x="199313" y="288316"/>
                  <a:pt x="188031" y="277034"/>
                  <a:pt x="188031" y="263245"/>
                </a:cubicBezTo>
                <a:lnTo>
                  <a:pt x="188031" y="94016"/>
                </a:lnTo>
                <a:cubicBezTo>
                  <a:pt x="188031" y="80227"/>
                  <a:pt x="199313" y="68945"/>
                  <a:pt x="213102" y="68945"/>
                </a:cubicBezTo>
                <a:close/>
                <a:moveTo>
                  <a:pt x="25071" y="0"/>
                </a:moveTo>
                <a:lnTo>
                  <a:pt x="288315" y="0"/>
                </a:lnTo>
                <a:cubicBezTo>
                  <a:pt x="302104" y="0"/>
                  <a:pt x="313385" y="11282"/>
                  <a:pt x="313385" y="25071"/>
                </a:cubicBezTo>
                <a:lnTo>
                  <a:pt x="313385" y="43874"/>
                </a:lnTo>
                <a:lnTo>
                  <a:pt x="213102" y="43874"/>
                </a:lnTo>
                <a:cubicBezTo>
                  <a:pt x="185524" y="43874"/>
                  <a:pt x="162960" y="66438"/>
                  <a:pt x="162960" y="94016"/>
                </a:cubicBezTo>
                <a:lnTo>
                  <a:pt x="162960" y="219371"/>
                </a:lnTo>
                <a:lnTo>
                  <a:pt x="125354" y="219371"/>
                </a:lnTo>
                <a:lnTo>
                  <a:pt x="62677" y="282048"/>
                </a:lnTo>
                <a:lnTo>
                  <a:pt x="62677" y="219371"/>
                </a:lnTo>
                <a:lnTo>
                  <a:pt x="25071" y="219371"/>
                </a:lnTo>
                <a:cubicBezTo>
                  <a:pt x="11282" y="219371"/>
                  <a:pt x="0" y="208089"/>
                  <a:pt x="0" y="194300"/>
                </a:cubicBezTo>
                <a:lnTo>
                  <a:pt x="0" y="25071"/>
                </a:lnTo>
                <a:cubicBezTo>
                  <a:pt x="0" y="11282"/>
                  <a:pt x="11282" y="0"/>
                  <a:pt x="2507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1" name="Google Shape;135;p8"/>
          <p:cNvSpPr/>
          <p:nvPr/>
        </p:nvSpPr>
        <p:spPr>
          <a:xfrm>
            <a:off x="3139202" y="3345791"/>
            <a:ext cx="394866" cy="246321"/>
          </a:xfrm>
          <a:custGeom>
            <a:avLst/>
            <a:gdLst/>
            <a:ahLst/>
            <a:cxnLst/>
            <a:rect l="l" t="t" r="r" b="b"/>
            <a:pathLst>
              <a:path w="526488" h="328428" extrusionOk="0">
                <a:moveTo>
                  <a:pt x="263245" y="215609"/>
                </a:moveTo>
                <a:cubicBezTo>
                  <a:pt x="279541" y="215609"/>
                  <a:pt x="295837" y="219370"/>
                  <a:pt x="309626" y="223130"/>
                </a:cubicBezTo>
                <a:cubicBezTo>
                  <a:pt x="329682" y="228144"/>
                  <a:pt x="349739" y="236919"/>
                  <a:pt x="364782" y="249455"/>
                </a:cubicBezTo>
                <a:cubicBezTo>
                  <a:pt x="372303" y="254469"/>
                  <a:pt x="376064" y="263244"/>
                  <a:pt x="376064" y="272018"/>
                </a:cubicBezTo>
                <a:lnTo>
                  <a:pt x="376064" y="328428"/>
                </a:lnTo>
                <a:lnTo>
                  <a:pt x="150425" y="328428"/>
                </a:lnTo>
                <a:lnTo>
                  <a:pt x="150425" y="272018"/>
                </a:lnTo>
                <a:cubicBezTo>
                  <a:pt x="150425" y="263244"/>
                  <a:pt x="154186" y="255722"/>
                  <a:pt x="161707" y="249455"/>
                </a:cubicBezTo>
                <a:cubicBezTo>
                  <a:pt x="178003" y="238173"/>
                  <a:pt x="196806" y="228144"/>
                  <a:pt x="216864" y="223130"/>
                </a:cubicBezTo>
                <a:cubicBezTo>
                  <a:pt x="231906" y="218116"/>
                  <a:pt x="248202" y="215609"/>
                  <a:pt x="263245" y="215609"/>
                </a:cubicBezTo>
                <a:close/>
                <a:moveTo>
                  <a:pt x="413670" y="127861"/>
                </a:moveTo>
                <a:cubicBezTo>
                  <a:pt x="429966" y="127861"/>
                  <a:pt x="446262" y="131622"/>
                  <a:pt x="460051" y="135382"/>
                </a:cubicBezTo>
                <a:cubicBezTo>
                  <a:pt x="480107" y="140396"/>
                  <a:pt x="500164" y="149171"/>
                  <a:pt x="515206" y="161708"/>
                </a:cubicBezTo>
                <a:cubicBezTo>
                  <a:pt x="522728" y="166722"/>
                  <a:pt x="526488" y="175497"/>
                  <a:pt x="526488" y="184271"/>
                </a:cubicBezTo>
                <a:lnTo>
                  <a:pt x="526488" y="240681"/>
                </a:lnTo>
                <a:lnTo>
                  <a:pt x="389852" y="240681"/>
                </a:lnTo>
                <a:cubicBezTo>
                  <a:pt x="387345" y="235667"/>
                  <a:pt x="383585" y="233159"/>
                  <a:pt x="379824" y="229399"/>
                </a:cubicBezTo>
                <a:cubicBezTo>
                  <a:pt x="364780" y="218117"/>
                  <a:pt x="345977" y="208089"/>
                  <a:pt x="322160" y="200567"/>
                </a:cubicBezTo>
                <a:cubicBezTo>
                  <a:pt x="335949" y="186778"/>
                  <a:pt x="344724" y="166722"/>
                  <a:pt x="344724" y="145411"/>
                </a:cubicBezTo>
                <a:lnTo>
                  <a:pt x="344724" y="144157"/>
                </a:lnTo>
                <a:cubicBezTo>
                  <a:pt x="352245" y="140396"/>
                  <a:pt x="359766" y="137889"/>
                  <a:pt x="367287" y="135382"/>
                </a:cubicBezTo>
                <a:cubicBezTo>
                  <a:pt x="382331" y="130368"/>
                  <a:pt x="398627" y="127861"/>
                  <a:pt x="413670" y="127861"/>
                </a:cubicBezTo>
                <a:close/>
                <a:moveTo>
                  <a:pt x="112820" y="127861"/>
                </a:moveTo>
                <a:cubicBezTo>
                  <a:pt x="129116" y="127861"/>
                  <a:pt x="145412" y="131622"/>
                  <a:pt x="159201" y="135382"/>
                </a:cubicBezTo>
                <a:cubicBezTo>
                  <a:pt x="166722" y="136636"/>
                  <a:pt x="174243" y="140396"/>
                  <a:pt x="181765" y="142903"/>
                </a:cubicBezTo>
                <a:cubicBezTo>
                  <a:pt x="181765" y="144157"/>
                  <a:pt x="181765" y="144157"/>
                  <a:pt x="181765" y="145411"/>
                </a:cubicBezTo>
                <a:cubicBezTo>
                  <a:pt x="181765" y="166722"/>
                  <a:pt x="190539" y="185525"/>
                  <a:pt x="204328" y="200567"/>
                </a:cubicBezTo>
                <a:cubicBezTo>
                  <a:pt x="184272" y="206835"/>
                  <a:pt x="164215" y="216863"/>
                  <a:pt x="146665" y="229399"/>
                </a:cubicBezTo>
                <a:cubicBezTo>
                  <a:pt x="141651" y="233159"/>
                  <a:pt x="139144" y="235667"/>
                  <a:pt x="135384" y="240681"/>
                </a:cubicBezTo>
                <a:lnTo>
                  <a:pt x="0" y="240681"/>
                </a:lnTo>
                <a:lnTo>
                  <a:pt x="0" y="184271"/>
                </a:lnTo>
                <a:cubicBezTo>
                  <a:pt x="0" y="175497"/>
                  <a:pt x="3761" y="166722"/>
                  <a:pt x="11282" y="161708"/>
                </a:cubicBezTo>
                <a:cubicBezTo>
                  <a:pt x="27578" y="150425"/>
                  <a:pt x="46381" y="141650"/>
                  <a:pt x="66439" y="135382"/>
                </a:cubicBezTo>
                <a:cubicBezTo>
                  <a:pt x="81481" y="130368"/>
                  <a:pt x="97777" y="127861"/>
                  <a:pt x="112820" y="127861"/>
                </a:cubicBezTo>
                <a:close/>
                <a:moveTo>
                  <a:pt x="263245" y="87748"/>
                </a:moveTo>
                <a:cubicBezTo>
                  <a:pt x="294399" y="87748"/>
                  <a:pt x="319655" y="113003"/>
                  <a:pt x="319655" y="144158"/>
                </a:cubicBezTo>
                <a:cubicBezTo>
                  <a:pt x="319655" y="175312"/>
                  <a:pt x="294399" y="200568"/>
                  <a:pt x="263245" y="200568"/>
                </a:cubicBezTo>
                <a:cubicBezTo>
                  <a:pt x="232090" y="200568"/>
                  <a:pt x="206835" y="175312"/>
                  <a:pt x="206835" y="144158"/>
                </a:cubicBezTo>
                <a:cubicBezTo>
                  <a:pt x="206835" y="113003"/>
                  <a:pt x="232090" y="87748"/>
                  <a:pt x="263245" y="87748"/>
                </a:cubicBezTo>
                <a:close/>
                <a:moveTo>
                  <a:pt x="413670" y="0"/>
                </a:moveTo>
                <a:cubicBezTo>
                  <a:pt x="444824" y="0"/>
                  <a:pt x="470080" y="25255"/>
                  <a:pt x="470080" y="56409"/>
                </a:cubicBezTo>
                <a:cubicBezTo>
                  <a:pt x="470080" y="87563"/>
                  <a:pt x="444824" y="112819"/>
                  <a:pt x="413670" y="112819"/>
                </a:cubicBezTo>
                <a:cubicBezTo>
                  <a:pt x="382515" y="112819"/>
                  <a:pt x="357260" y="87563"/>
                  <a:pt x="357260" y="56409"/>
                </a:cubicBezTo>
                <a:cubicBezTo>
                  <a:pt x="357260" y="25255"/>
                  <a:pt x="382515" y="0"/>
                  <a:pt x="413670" y="0"/>
                </a:cubicBezTo>
                <a:close/>
                <a:moveTo>
                  <a:pt x="112820" y="0"/>
                </a:moveTo>
                <a:cubicBezTo>
                  <a:pt x="143974" y="0"/>
                  <a:pt x="169230" y="25255"/>
                  <a:pt x="169230" y="56409"/>
                </a:cubicBezTo>
                <a:cubicBezTo>
                  <a:pt x="169230" y="87563"/>
                  <a:pt x="143974" y="112819"/>
                  <a:pt x="112820" y="112819"/>
                </a:cubicBezTo>
                <a:cubicBezTo>
                  <a:pt x="81665" y="112819"/>
                  <a:pt x="56410" y="87563"/>
                  <a:pt x="56410" y="56409"/>
                </a:cubicBezTo>
                <a:cubicBezTo>
                  <a:pt x="56410" y="25255"/>
                  <a:pt x="81665" y="0"/>
                  <a:pt x="11282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2" name="Google Shape;136;p8"/>
          <p:cNvSpPr/>
          <p:nvPr/>
        </p:nvSpPr>
        <p:spPr>
          <a:xfrm>
            <a:off x="3205014" y="3834199"/>
            <a:ext cx="263245" cy="357260"/>
          </a:xfrm>
          <a:custGeom>
            <a:avLst/>
            <a:gdLst/>
            <a:ahLst/>
            <a:cxnLst/>
            <a:rect l="l" t="t" r="r" b="b"/>
            <a:pathLst>
              <a:path w="350993" h="476346" extrusionOk="0">
                <a:moveTo>
                  <a:pt x="300851" y="401134"/>
                </a:moveTo>
                <a:cubicBezTo>
                  <a:pt x="293330" y="401134"/>
                  <a:pt x="288316" y="406148"/>
                  <a:pt x="288316" y="413669"/>
                </a:cubicBezTo>
                <a:cubicBezTo>
                  <a:pt x="288316" y="421190"/>
                  <a:pt x="293330" y="426204"/>
                  <a:pt x="300851" y="426204"/>
                </a:cubicBezTo>
                <a:cubicBezTo>
                  <a:pt x="308372" y="426204"/>
                  <a:pt x="313386" y="421190"/>
                  <a:pt x="313386" y="413669"/>
                </a:cubicBezTo>
                <a:cubicBezTo>
                  <a:pt x="313386" y="406148"/>
                  <a:pt x="308372" y="401134"/>
                  <a:pt x="300851" y="401134"/>
                </a:cubicBezTo>
                <a:close/>
                <a:moveTo>
                  <a:pt x="0" y="325921"/>
                </a:moveTo>
                <a:cubicBezTo>
                  <a:pt x="0" y="353499"/>
                  <a:pt x="78973" y="376063"/>
                  <a:pt x="175497" y="376063"/>
                </a:cubicBezTo>
                <a:cubicBezTo>
                  <a:pt x="272020" y="376063"/>
                  <a:pt x="350993" y="353499"/>
                  <a:pt x="350993" y="325921"/>
                </a:cubicBezTo>
                <a:lnTo>
                  <a:pt x="350993" y="426204"/>
                </a:lnTo>
                <a:cubicBezTo>
                  <a:pt x="350993" y="453782"/>
                  <a:pt x="272020" y="476346"/>
                  <a:pt x="175497" y="476346"/>
                </a:cubicBezTo>
                <a:cubicBezTo>
                  <a:pt x="78973" y="476346"/>
                  <a:pt x="0" y="453782"/>
                  <a:pt x="0" y="426204"/>
                </a:cubicBezTo>
                <a:close/>
                <a:moveTo>
                  <a:pt x="300851" y="275780"/>
                </a:moveTo>
                <a:cubicBezTo>
                  <a:pt x="293330" y="275780"/>
                  <a:pt x="288316" y="280794"/>
                  <a:pt x="288316" y="288315"/>
                </a:cubicBezTo>
                <a:cubicBezTo>
                  <a:pt x="288316" y="295836"/>
                  <a:pt x="293330" y="300850"/>
                  <a:pt x="300851" y="300850"/>
                </a:cubicBezTo>
                <a:cubicBezTo>
                  <a:pt x="308372" y="300850"/>
                  <a:pt x="313386" y="295836"/>
                  <a:pt x="313386" y="288315"/>
                </a:cubicBezTo>
                <a:cubicBezTo>
                  <a:pt x="313386" y="280794"/>
                  <a:pt x="308372" y="275780"/>
                  <a:pt x="300851" y="275780"/>
                </a:cubicBezTo>
                <a:close/>
                <a:moveTo>
                  <a:pt x="0" y="200567"/>
                </a:moveTo>
                <a:cubicBezTo>
                  <a:pt x="0" y="228145"/>
                  <a:pt x="78973" y="250709"/>
                  <a:pt x="175497" y="250709"/>
                </a:cubicBezTo>
                <a:cubicBezTo>
                  <a:pt x="272020" y="250709"/>
                  <a:pt x="350993" y="228145"/>
                  <a:pt x="350993" y="200567"/>
                </a:cubicBezTo>
                <a:lnTo>
                  <a:pt x="350993" y="300850"/>
                </a:lnTo>
                <a:cubicBezTo>
                  <a:pt x="350993" y="328428"/>
                  <a:pt x="272020" y="350992"/>
                  <a:pt x="175497" y="350992"/>
                </a:cubicBezTo>
                <a:cubicBezTo>
                  <a:pt x="78973" y="350992"/>
                  <a:pt x="0" y="328428"/>
                  <a:pt x="0" y="300850"/>
                </a:cubicBezTo>
                <a:close/>
                <a:moveTo>
                  <a:pt x="300851" y="150426"/>
                </a:moveTo>
                <a:cubicBezTo>
                  <a:pt x="293330" y="150426"/>
                  <a:pt x="288316" y="155440"/>
                  <a:pt x="288316" y="162961"/>
                </a:cubicBezTo>
                <a:cubicBezTo>
                  <a:pt x="288316" y="170482"/>
                  <a:pt x="293330" y="175496"/>
                  <a:pt x="300851" y="175496"/>
                </a:cubicBezTo>
                <a:cubicBezTo>
                  <a:pt x="308372" y="175496"/>
                  <a:pt x="313386" y="170482"/>
                  <a:pt x="313386" y="162961"/>
                </a:cubicBezTo>
                <a:cubicBezTo>
                  <a:pt x="313386" y="155440"/>
                  <a:pt x="308372" y="150426"/>
                  <a:pt x="300851" y="150426"/>
                </a:cubicBezTo>
                <a:close/>
                <a:moveTo>
                  <a:pt x="0" y="75213"/>
                </a:moveTo>
                <a:cubicBezTo>
                  <a:pt x="0" y="102791"/>
                  <a:pt x="78973" y="125355"/>
                  <a:pt x="175497" y="125355"/>
                </a:cubicBezTo>
                <a:cubicBezTo>
                  <a:pt x="272020" y="125355"/>
                  <a:pt x="350993" y="102791"/>
                  <a:pt x="350993" y="75213"/>
                </a:cubicBezTo>
                <a:lnTo>
                  <a:pt x="350993" y="175496"/>
                </a:lnTo>
                <a:cubicBezTo>
                  <a:pt x="350993" y="203074"/>
                  <a:pt x="272020" y="225638"/>
                  <a:pt x="175497" y="225638"/>
                </a:cubicBezTo>
                <a:cubicBezTo>
                  <a:pt x="78973" y="225638"/>
                  <a:pt x="0" y="203074"/>
                  <a:pt x="0" y="175496"/>
                </a:cubicBezTo>
                <a:close/>
                <a:moveTo>
                  <a:pt x="175497" y="0"/>
                </a:moveTo>
                <a:cubicBezTo>
                  <a:pt x="272421" y="0"/>
                  <a:pt x="350993" y="22449"/>
                  <a:pt x="350993" y="50142"/>
                </a:cubicBezTo>
                <a:cubicBezTo>
                  <a:pt x="350993" y="77834"/>
                  <a:pt x="272421" y="100283"/>
                  <a:pt x="175497" y="100283"/>
                </a:cubicBezTo>
                <a:cubicBezTo>
                  <a:pt x="78572" y="100283"/>
                  <a:pt x="0" y="77834"/>
                  <a:pt x="0" y="50142"/>
                </a:cubicBezTo>
                <a:cubicBezTo>
                  <a:pt x="0" y="22449"/>
                  <a:pt x="78572" y="0"/>
                  <a:pt x="17549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3" name="Google Shape;137;p8"/>
          <p:cNvSpPr/>
          <p:nvPr/>
        </p:nvSpPr>
        <p:spPr>
          <a:xfrm>
            <a:off x="3214415" y="1639886"/>
            <a:ext cx="244442" cy="394866"/>
          </a:xfrm>
          <a:custGeom>
            <a:avLst/>
            <a:gdLst/>
            <a:ahLst/>
            <a:cxnLst/>
            <a:rect l="l" t="t" r="r" b="b"/>
            <a:pathLst>
              <a:path w="325922" h="526488" extrusionOk="0">
                <a:moveTo>
                  <a:pt x="122220" y="488882"/>
                </a:moveTo>
                <a:lnTo>
                  <a:pt x="203700" y="488882"/>
                </a:lnTo>
                <a:cubicBezTo>
                  <a:pt x="201820" y="510192"/>
                  <a:pt x="184270" y="526488"/>
                  <a:pt x="162960" y="526488"/>
                </a:cubicBezTo>
                <a:cubicBezTo>
                  <a:pt x="141650" y="526488"/>
                  <a:pt x="124100" y="510192"/>
                  <a:pt x="122220" y="488882"/>
                </a:cubicBezTo>
                <a:close/>
                <a:moveTo>
                  <a:pt x="100283" y="426204"/>
                </a:moveTo>
                <a:lnTo>
                  <a:pt x="225637" y="426204"/>
                </a:lnTo>
                <a:cubicBezTo>
                  <a:pt x="236292" y="426204"/>
                  <a:pt x="244440" y="434352"/>
                  <a:pt x="244440" y="445007"/>
                </a:cubicBezTo>
                <a:cubicBezTo>
                  <a:pt x="244440" y="455662"/>
                  <a:pt x="236292" y="463810"/>
                  <a:pt x="225637" y="463810"/>
                </a:cubicBezTo>
                <a:lnTo>
                  <a:pt x="100283" y="463810"/>
                </a:lnTo>
                <a:cubicBezTo>
                  <a:pt x="89628" y="463810"/>
                  <a:pt x="81480" y="455662"/>
                  <a:pt x="81480" y="445007"/>
                </a:cubicBezTo>
                <a:cubicBezTo>
                  <a:pt x="81480" y="434352"/>
                  <a:pt x="89628" y="426204"/>
                  <a:pt x="100283" y="426204"/>
                </a:cubicBezTo>
                <a:close/>
                <a:moveTo>
                  <a:pt x="100283" y="363527"/>
                </a:moveTo>
                <a:lnTo>
                  <a:pt x="225637" y="363527"/>
                </a:lnTo>
                <a:cubicBezTo>
                  <a:pt x="236292" y="363527"/>
                  <a:pt x="244440" y="371675"/>
                  <a:pt x="244440" y="382330"/>
                </a:cubicBezTo>
                <a:cubicBezTo>
                  <a:pt x="244440" y="392985"/>
                  <a:pt x="236292" y="401133"/>
                  <a:pt x="225637" y="401133"/>
                </a:cubicBezTo>
                <a:lnTo>
                  <a:pt x="100283" y="401133"/>
                </a:lnTo>
                <a:cubicBezTo>
                  <a:pt x="89628" y="401133"/>
                  <a:pt x="81480" y="392985"/>
                  <a:pt x="81480" y="382330"/>
                </a:cubicBezTo>
                <a:cubicBezTo>
                  <a:pt x="81480" y="371675"/>
                  <a:pt x="89628" y="363527"/>
                  <a:pt x="100283" y="363527"/>
                </a:cubicBezTo>
                <a:close/>
                <a:moveTo>
                  <a:pt x="163588" y="36979"/>
                </a:moveTo>
                <a:cubicBezTo>
                  <a:pt x="95270" y="37606"/>
                  <a:pt x="39487" y="92762"/>
                  <a:pt x="38233" y="161080"/>
                </a:cubicBezTo>
                <a:lnTo>
                  <a:pt x="38233" y="166094"/>
                </a:lnTo>
                <a:cubicBezTo>
                  <a:pt x="38860" y="181137"/>
                  <a:pt x="41367" y="196179"/>
                  <a:pt x="47008" y="209968"/>
                </a:cubicBezTo>
                <a:cubicBezTo>
                  <a:pt x="52022" y="222504"/>
                  <a:pt x="59543" y="234412"/>
                  <a:pt x="68318" y="244441"/>
                </a:cubicBezTo>
                <a:cubicBezTo>
                  <a:pt x="82107" y="261990"/>
                  <a:pt x="94643" y="280793"/>
                  <a:pt x="104672" y="300850"/>
                </a:cubicBezTo>
                <a:lnTo>
                  <a:pt x="162961" y="300850"/>
                </a:lnTo>
                <a:lnTo>
                  <a:pt x="221878" y="300850"/>
                </a:lnTo>
                <a:cubicBezTo>
                  <a:pt x="231279" y="280793"/>
                  <a:pt x="243815" y="261990"/>
                  <a:pt x="258231" y="244441"/>
                </a:cubicBezTo>
                <a:cubicBezTo>
                  <a:pt x="267632" y="234412"/>
                  <a:pt x="274527" y="222504"/>
                  <a:pt x="279541" y="209968"/>
                </a:cubicBezTo>
                <a:cubicBezTo>
                  <a:pt x="284555" y="196179"/>
                  <a:pt x="287689" y="181137"/>
                  <a:pt x="288316" y="166094"/>
                </a:cubicBezTo>
                <a:lnTo>
                  <a:pt x="288942" y="166094"/>
                </a:lnTo>
                <a:lnTo>
                  <a:pt x="288942" y="161080"/>
                </a:lnTo>
                <a:cubicBezTo>
                  <a:pt x="287689" y="92135"/>
                  <a:pt x="231906" y="37606"/>
                  <a:pt x="163588" y="36979"/>
                </a:cubicBezTo>
                <a:close/>
                <a:moveTo>
                  <a:pt x="162961" y="0"/>
                </a:moveTo>
                <a:cubicBezTo>
                  <a:pt x="251963" y="627"/>
                  <a:pt x="324042" y="72079"/>
                  <a:pt x="325922" y="161080"/>
                </a:cubicBezTo>
                <a:lnTo>
                  <a:pt x="325922" y="166721"/>
                </a:lnTo>
                <a:cubicBezTo>
                  <a:pt x="325295" y="186151"/>
                  <a:pt x="321534" y="204954"/>
                  <a:pt x="314640" y="223130"/>
                </a:cubicBezTo>
                <a:cubicBezTo>
                  <a:pt x="308372" y="240053"/>
                  <a:pt x="298344" y="255723"/>
                  <a:pt x="286435" y="269511"/>
                </a:cubicBezTo>
                <a:cubicBezTo>
                  <a:pt x="271393" y="285808"/>
                  <a:pt x="255097" y="317773"/>
                  <a:pt x="248202" y="331562"/>
                </a:cubicBezTo>
                <a:cubicBezTo>
                  <a:pt x="246322" y="335949"/>
                  <a:pt x="241935" y="338456"/>
                  <a:pt x="236920" y="338456"/>
                </a:cubicBezTo>
                <a:lnTo>
                  <a:pt x="89002" y="338456"/>
                </a:lnTo>
                <a:cubicBezTo>
                  <a:pt x="83988" y="338456"/>
                  <a:pt x="79600" y="335949"/>
                  <a:pt x="77720" y="331562"/>
                </a:cubicBezTo>
                <a:cubicBezTo>
                  <a:pt x="70825" y="317773"/>
                  <a:pt x="54529" y="285808"/>
                  <a:pt x="39487" y="269511"/>
                </a:cubicBezTo>
                <a:cubicBezTo>
                  <a:pt x="27578" y="255723"/>
                  <a:pt x="18176" y="240053"/>
                  <a:pt x="11282" y="223130"/>
                </a:cubicBezTo>
                <a:cubicBezTo>
                  <a:pt x="4387" y="204954"/>
                  <a:pt x="627" y="186151"/>
                  <a:pt x="0" y="166721"/>
                </a:cubicBezTo>
                <a:lnTo>
                  <a:pt x="0" y="161080"/>
                </a:lnTo>
                <a:cubicBezTo>
                  <a:pt x="1880" y="72079"/>
                  <a:pt x="73959" y="627"/>
                  <a:pt x="16296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>
              <a:defRPr/>
            </a:pPr>
            <a:endParaRPr sz="1500"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4" name="Google Shape;59;p14"/>
          <p:cNvSpPr txBox="1">
            <a:spLocks/>
          </p:cNvSpPr>
          <p:nvPr/>
        </p:nvSpPr>
        <p:spPr>
          <a:xfrm>
            <a:off x="311700" y="985266"/>
            <a:ext cx="4255441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100" b="1" dirty="0">
                <a:solidFill>
                  <a:srgbClr val="FFFFFF"/>
                </a:solidFill>
              </a:rPr>
              <a:t>WHAT IS RPA?</a:t>
            </a:r>
          </a:p>
        </p:txBody>
      </p:sp>
      <p:sp>
        <p:nvSpPr>
          <p:cNvPr id="86" name="Google Shape;59;p14"/>
          <p:cNvSpPr txBox="1">
            <a:spLocks/>
          </p:cNvSpPr>
          <p:nvPr/>
        </p:nvSpPr>
        <p:spPr>
          <a:xfrm>
            <a:off x="4567141" y="1000311"/>
            <a:ext cx="4255441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>
                <a:srgbClr val="000000"/>
              </a:buClr>
            </a:pPr>
            <a:r>
              <a:rPr lang="en-US" sz="2100" b="1" dirty="0">
                <a:solidFill>
                  <a:srgbClr val="FFFFFF"/>
                </a:solidFill>
              </a:rPr>
              <a:t>BENEFITS OF RPA</a:t>
            </a:r>
          </a:p>
        </p:txBody>
      </p:sp>
      <p:sp>
        <p:nvSpPr>
          <p:cNvPr id="87" name="Rectangle 86"/>
          <p:cNvSpPr/>
          <p:nvPr/>
        </p:nvSpPr>
        <p:spPr>
          <a:xfrm>
            <a:off x="6877761" y="4865287"/>
            <a:ext cx="223330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600" i="1" kern="1200" dirty="0">
                <a:solidFill>
                  <a:srgbClr val="FFFFFF"/>
                </a:solidFill>
                <a:ea typeface="+mn-ea"/>
                <a:cs typeface="+mn-cs"/>
              </a:rPr>
              <a:t>Reference: The Creative Studio at Deloitte, London. J13988</a:t>
            </a:r>
            <a:endParaRPr lang="en-US" sz="2700" i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88" name="Google Shape;59;p14"/>
          <p:cNvSpPr txBox="1">
            <a:spLocks noGrp="1"/>
          </p:cNvSpPr>
          <p:nvPr>
            <p:ph type="title"/>
          </p:nvPr>
        </p:nvSpPr>
        <p:spPr>
          <a:xfrm>
            <a:off x="311700" y="311463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+mj-lt"/>
              </a:rPr>
              <a:t>RPA OVERVIEW</a:t>
            </a:r>
            <a:endParaRPr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8876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oogle Shape;185;p29"/>
          <p:cNvGrpSpPr/>
          <p:nvPr/>
        </p:nvGrpSpPr>
        <p:grpSpPr>
          <a:xfrm>
            <a:off x="521879" y="1426085"/>
            <a:ext cx="3582408" cy="3384027"/>
            <a:chOff x="1207675" y="1387446"/>
            <a:chExt cx="5089216" cy="4807394"/>
          </a:xfrm>
        </p:grpSpPr>
        <p:sp>
          <p:nvSpPr>
            <p:cNvPr id="22" name="Google Shape;186;p29"/>
            <p:cNvSpPr/>
            <p:nvPr/>
          </p:nvSpPr>
          <p:spPr>
            <a:xfrm>
              <a:off x="2833926" y="2793456"/>
              <a:ext cx="1028283" cy="1028284"/>
            </a:xfrm>
            <a:prstGeom prst="rect">
              <a:avLst/>
            </a:prstGeom>
            <a:solidFill>
              <a:srgbClr val="E35A35"/>
            </a:solidFill>
            <a:ln w="25400" cap="flat" cmpd="sng">
              <a:solidFill>
                <a:srgbClr val="E35A3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187;p29"/>
            <p:cNvSpPr/>
            <p:nvPr/>
          </p:nvSpPr>
          <p:spPr>
            <a:xfrm>
              <a:off x="3852549" y="2793456"/>
              <a:ext cx="1028283" cy="1028284"/>
            </a:xfrm>
            <a:prstGeom prst="rect">
              <a:avLst/>
            </a:prstGeom>
            <a:solidFill>
              <a:srgbClr val="ECB448"/>
            </a:solidFill>
            <a:ln w="25400" cap="flat" cmpd="sng">
              <a:solidFill>
                <a:srgbClr val="ECB44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188;p29"/>
            <p:cNvSpPr/>
            <p:nvPr/>
          </p:nvSpPr>
          <p:spPr>
            <a:xfrm>
              <a:off x="2833926" y="3835387"/>
              <a:ext cx="1028283" cy="1028284"/>
            </a:xfrm>
            <a:prstGeom prst="rect">
              <a:avLst/>
            </a:prstGeom>
            <a:solidFill>
              <a:srgbClr val="5FB7A2"/>
            </a:solidFill>
            <a:ln w="25400" cap="flat" cmpd="sng">
              <a:solidFill>
                <a:srgbClr val="5FB7A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189;p29"/>
            <p:cNvSpPr/>
            <p:nvPr/>
          </p:nvSpPr>
          <p:spPr>
            <a:xfrm>
              <a:off x="3852549" y="3835387"/>
              <a:ext cx="1028283" cy="1028284"/>
            </a:xfrm>
            <a:prstGeom prst="rect">
              <a:avLst/>
            </a:prstGeom>
            <a:solidFill>
              <a:srgbClr val="3081AC"/>
            </a:solidFill>
            <a:ln w="25400" cap="flat" cmpd="sng">
              <a:solidFill>
                <a:srgbClr val="3081A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endPara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190;p29"/>
            <p:cNvSpPr/>
            <p:nvPr/>
          </p:nvSpPr>
          <p:spPr>
            <a:xfrm>
              <a:off x="1207675" y="1387446"/>
              <a:ext cx="1758482" cy="1694207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17019" y="120000"/>
                  </a:lnTo>
                  <a:lnTo>
                    <a:pt x="0" y="120000"/>
                  </a:lnTo>
                  <a:lnTo>
                    <a:pt x="7928" y="12665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E35A35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r>
                <a:rPr lang="en-IN" sz="4950" b="1">
                  <a:solidFill>
                    <a:srgbClr val="FFFFFF"/>
                  </a:solidFill>
                </a:rPr>
                <a:t>1</a:t>
              </a:r>
              <a:endParaRPr sz="1050">
                <a:ea typeface="+mn-ea"/>
              </a:endParaRPr>
            </a:p>
          </p:txBody>
        </p:sp>
        <p:sp>
          <p:nvSpPr>
            <p:cNvPr id="27" name="Google Shape;191;p29"/>
            <p:cNvSpPr/>
            <p:nvPr/>
          </p:nvSpPr>
          <p:spPr>
            <a:xfrm>
              <a:off x="2922484" y="1387446"/>
              <a:ext cx="580942" cy="2113639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021" y="0"/>
                  </a:moveTo>
                  <a:lnTo>
                    <a:pt x="120000" y="98198"/>
                  </a:lnTo>
                  <a:lnTo>
                    <a:pt x="120000" y="120000"/>
                  </a:lnTo>
                  <a:lnTo>
                    <a:pt x="0" y="96187"/>
                  </a:lnTo>
                  <a:lnTo>
                    <a:pt x="9021" y="0"/>
                  </a:lnTo>
                  <a:close/>
                </a:path>
              </a:pathLst>
            </a:custGeom>
            <a:solidFill>
              <a:srgbClr val="EE9B84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192;p29"/>
            <p:cNvSpPr/>
            <p:nvPr/>
          </p:nvSpPr>
          <p:spPr>
            <a:xfrm>
              <a:off x="1207675" y="3081653"/>
              <a:ext cx="2295751" cy="419432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89633" y="0"/>
                  </a:lnTo>
                  <a:lnTo>
                    <a:pt x="119999" y="120000"/>
                  </a:lnTo>
                  <a:lnTo>
                    <a:pt x="104795" y="12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83B19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93;p29"/>
            <p:cNvSpPr/>
            <p:nvPr/>
          </p:nvSpPr>
          <p:spPr>
            <a:xfrm>
              <a:off x="4850717" y="1851375"/>
              <a:ext cx="1142107" cy="1105849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3506" y="9746"/>
                  </a:lnTo>
                  <a:lnTo>
                    <a:pt x="120000" y="120000"/>
                  </a:lnTo>
                  <a:lnTo>
                    <a:pt x="0" y="12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CB448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r>
                <a:rPr lang="en-IN" sz="3600" b="1">
                  <a:solidFill>
                    <a:srgbClr val="FFFFFF"/>
                  </a:solidFill>
                </a:rPr>
                <a:t>2</a:t>
              </a:r>
              <a:endParaRPr sz="1050">
                <a:ea typeface="+mn-ea"/>
              </a:endParaRPr>
            </a:p>
          </p:txBody>
        </p:sp>
        <p:sp>
          <p:nvSpPr>
            <p:cNvPr id="30" name="Google Shape;194;p29"/>
            <p:cNvSpPr/>
            <p:nvPr/>
          </p:nvSpPr>
          <p:spPr>
            <a:xfrm>
              <a:off x="4189844" y="1851375"/>
              <a:ext cx="660873" cy="1649709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20000" y="80439"/>
                  </a:lnTo>
                  <a:lnTo>
                    <a:pt x="0" y="120000"/>
                  </a:lnTo>
                  <a:lnTo>
                    <a:pt x="0" y="97942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F3D190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95;p29"/>
            <p:cNvSpPr/>
            <p:nvPr/>
          </p:nvSpPr>
          <p:spPr>
            <a:xfrm>
              <a:off x="4189844" y="2957224"/>
              <a:ext cx="1802980" cy="54386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43985" y="0"/>
                  </a:moveTo>
                  <a:lnTo>
                    <a:pt x="120000" y="0"/>
                  </a:lnTo>
                  <a:lnTo>
                    <a:pt x="19634" y="120000"/>
                  </a:lnTo>
                  <a:lnTo>
                    <a:pt x="0" y="120000"/>
                  </a:lnTo>
                  <a:lnTo>
                    <a:pt x="43985" y="0"/>
                  </a:lnTo>
                  <a:close/>
                </a:path>
              </a:pathLst>
            </a:custGeom>
            <a:solidFill>
              <a:srgbClr val="D19115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196;p29"/>
            <p:cNvSpPr/>
            <p:nvPr/>
          </p:nvSpPr>
          <p:spPr>
            <a:xfrm>
              <a:off x="2172616" y="4410814"/>
              <a:ext cx="927859" cy="8817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20000" y="0"/>
                  </a:lnTo>
                  <a:lnTo>
                    <a:pt x="120000" y="120000"/>
                  </a:lnTo>
                  <a:lnTo>
                    <a:pt x="0" y="115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B7A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r>
                <a:rPr lang="en-IN" sz="3600" b="1">
                  <a:solidFill>
                    <a:srgbClr val="FFFFFF"/>
                  </a:solidFill>
                </a:rPr>
                <a:t>4</a:t>
              </a:r>
              <a:endParaRPr sz="1050">
                <a:ea typeface="+mn-ea"/>
              </a:endParaRPr>
            </a:p>
          </p:txBody>
        </p:sp>
        <p:sp>
          <p:nvSpPr>
            <p:cNvPr id="33" name="Google Shape;197;p29"/>
            <p:cNvSpPr/>
            <p:nvPr/>
          </p:nvSpPr>
          <p:spPr>
            <a:xfrm>
              <a:off x="3100475" y="4178437"/>
              <a:ext cx="402951" cy="1114089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20000" y="33727"/>
                  </a:lnTo>
                  <a:lnTo>
                    <a:pt x="0" y="120000"/>
                  </a:lnTo>
                  <a:lnTo>
                    <a:pt x="0" y="25029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2B5F53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198;p29"/>
            <p:cNvSpPr/>
            <p:nvPr/>
          </p:nvSpPr>
          <p:spPr>
            <a:xfrm>
              <a:off x="2172616" y="4178437"/>
              <a:ext cx="1330810" cy="232377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0204" y="0"/>
                  </a:moveTo>
                  <a:lnTo>
                    <a:pt x="120000" y="0"/>
                  </a:lnTo>
                  <a:lnTo>
                    <a:pt x="83665" y="120000"/>
                  </a:lnTo>
                  <a:lnTo>
                    <a:pt x="0" y="120000"/>
                  </a:lnTo>
                  <a:lnTo>
                    <a:pt x="90204" y="0"/>
                  </a:lnTo>
                  <a:close/>
                </a:path>
              </a:pathLst>
            </a:custGeom>
            <a:solidFill>
              <a:srgbClr val="408F7C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199;p29"/>
            <p:cNvSpPr/>
            <p:nvPr/>
          </p:nvSpPr>
          <p:spPr>
            <a:xfrm>
              <a:off x="4520280" y="4472616"/>
              <a:ext cx="1776611" cy="1722224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09814" y="106277"/>
                  </a:lnTo>
                  <a:lnTo>
                    <a:pt x="0" y="120000"/>
                  </a:lnTo>
                  <a:lnTo>
                    <a:pt x="0" y="3100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3081AC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defRPr/>
              </a:pPr>
              <a:r>
                <a:rPr lang="en-IN" sz="4950" b="1">
                  <a:solidFill>
                    <a:srgbClr val="FFFFFF"/>
                  </a:solidFill>
                </a:rPr>
                <a:t>3</a:t>
              </a:r>
              <a:endParaRPr sz="1050">
                <a:ea typeface="+mn-ea"/>
              </a:endParaRPr>
            </a:p>
          </p:txBody>
        </p:sp>
        <p:sp>
          <p:nvSpPr>
            <p:cNvPr id="36" name="Google Shape;200;p29"/>
            <p:cNvSpPr/>
            <p:nvPr/>
          </p:nvSpPr>
          <p:spPr>
            <a:xfrm>
              <a:off x="4136281" y="4178437"/>
              <a:ext cx="2160610" cy="338677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25812" y="0"/>
                  </a:lnTo>
                  <a:lnTo>
                    <a:pt x="120000" y="104233"/>
                  </a:lnTo>
                  <a:lnTo>
                    <a:pt x="21327" y="12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5B6D9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201;p29"/>
            <p:cNvSpPr/>
            <p:nvPr/>
          </p:nvSpPr>
          <p:spPr>
            <a:xfrm>
              <a:off x="4136281" y="4178437"/>
              <a:ext cx="383998" cy="201640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20000" y="20155"/>
                  </a:lnTo>
                  <a:lnTo>
                    <a:pt x="120000" y="120000"/>
                  </a:lnTo>
                  <a:lnTo>
                    <a:pt x="0" y="175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608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defRPr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3300" b="1" dirty="0">
                <a:solidFill>
                  <a:srgbClr val="FFFFFF"/>
                </a:solidFill>
                <a:latin typeface="Arial"/>
              </a:rPr>
              <a:t>RPA OVERVIEW</a:t>
            </a:r>
          </a:p>
        </p:txBody>
      </p:sp>
      <p:sp>
        <p:nvSpPr>
          <p:cNvPr id="39" name="Google Shape;59;p14"/>
          <p:cNvSpPr txBox="1">
            <a:spLocks/>
          </p:cNvSpPr>
          <p:nvPr/>
        </p:nvSpPr>
        <p:spPr>
          <a:xfrm>
            <a:off x="311700" y="985266"/>
            <a:ext cx="4255441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100" b="1" dirty="0">
                <a:solidFill>
                  <a:srgbClr val="FFFFFF"/>
                </a:solidFill>
              </a:rPr>
              <a:t>RPA is NOT…</a:t>
            </a:r>
          </a:p>
        </p:txBody>
      </p:sp>
      <p:sp>
        <p:nvSpPr>
          <p:cNvPr id="61" name="Google Shape;203;p29"/>
          <p:cNvSpPr/>
          <p:nvPr/>
        </p:nvSpPr>
        <p:spPr>
          <a:xfrm>
            <a:off x="5002859" y="1160440"/>
            <a:ext cx="530265" cy="530265"/>
          </a:xfrm>
          <a:prstGeom prst="ellipse">
            <a:avLst/>
          </a:prstGeom>
          <a:solidFill>
            <a:srgbClr val="E35A3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defRPr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212;p29"/>
          <p:cNvSpPr/>
          <p:nvPr/>
        </p:nvSpPr>
        <p:spPr>
          <a:xfrm>
            <a:off x="5002857" y="2079055"/>
            <a:ext cx="530265" cy="530265"/>
          </a:xfrm>
          <a:prstGeom prst="ellipse">
            <a:avLst/>
          </a:prstGeom>
          <a:solidFill>
            <a:srgbClr val="ECB44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defRPr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" name="Google Shape;218;p29"/>
          <p:cNvSpPr/>
          <p:nvPr/>
        </p:nvSpPr>
        <p:spPr>
          <a:xfrm>
            <a:off x="5002857" y="2997670"/>
            <a:ext cx="530265" cy="530265"/>
          </a:xfrm>
          <a:prstGeom prst="ellipse">
            <a:avLst/>
          </a:prstGeom>
          <a:solidFill>
            <a:srgbClr val="3081AC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defRPr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227;p29"/>
          <p:cNvSpPr/>
          <p:nvPr/>
        </p:nvSpPr>
        <p:spPr>
          <a:xfrm>
            <a:off x="5002857" y="3916286"/>
            <a:ext cx="530265" cy="530265"/>
          </a:xfrm>
          <a:prstGeom prst="ellipse">
            <a:avLst/>
          </a:prstGeom>
          <a:solidFill>
            <a:srgbClr val="5FB7A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defRPr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" name="Google Shape;59;p14"/>
          <p:cNvSpPr txBox="1">
            <a:spLocks/>
          </p:cNvSpPr>
          <p:nvPr/>
        </p:nvSpPr>
        <p:spPr>
          <a:xfrm>
            <a:off x="5544296" y="1184705"/>
            <a:ext cx="359970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875" b="1" dirty="0">
                <a:solidFill>
                  <a:srgbClr val="E35A35"/>
                </a:solidFill>
              </a:rPr>
              <a:t>…a walking, talking robot.</a:t>
            </a:r>
          </a:p>
        </p:txBody>
      </p:sp>
      <p:sp>
        <p:nvSpPr>
          <p:cNvPr id="79" name="Google Shape;59;p14"/>
          <p:cNvSpPr txBox="1">
            <a:spLocks/>
          </p:cNvSpPr>
          <p:nvPr/>
        </p:nvSpPr>
        <p:spPr>
          <a:xfrm>
            <a:off x="5533121" y="1984478"/>
            <a:ext cx="3610878" cy="697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875" b="1" dirty="0">
                <a:solidFill>
                  <a:srgbClr val="ECB448"/>
                </a:solidFill>
              </a:rPr>
              <a:t>…a physically existing machines processing tasks.</a:t>
            </a:r>
          </a:p>
        </p:txBody>
      </p:sp>
      <p:sp>
        <p:nvSpPr>
          <p:cNvPr id="80" name="Google Shape;59;p14"/>
          <p:cNvSpPr txBox="1">
            <a:spLocks/>
          </p:cNvSpPr>
          <p:nvPr/>
        </p:nvSpPr>
        <p:spPr>
          <a:xfrm>
            <a:off x="5544296" y="2974279"/>
            <a:ext cx="3599704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875" b="1" dirty="0">
                <a:solidFill>
                  <a:srgbClr val="3081AC"/>
                </a:solidFill>
              </a:rPr>
              <a:t>…an Artificial Intelligence.</a:t>
            </a:r>
          </a:p>
        </p:txBody>
      </p:sp>
      <p:sp>
        <p:nvSpPr>
          <p:cNvPr id="81" name="Google Shape;59;p14"/>
          <p:cNvSpPr txBox="1">
            <a:spLocks/>
          </p:cNvSpPr>
          <p:nvPr/>
        </p:nvSpPr>
        <p:spPr>
          <a:xfrm>
            <a:off x="5533122" y="3888603"/>
            <a:ext cx="3610878" cy="6976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875" b="1" dirty="0">
                <a:solidFill>
                  <a:srgbClr val="5FB7A2"/>
                </a:solidFill>
              </a:rPr>
              <a:t>…a voice recognition software or a chat bot.</a:t>
            </a:r>
          </a:p>
        </p:txBody>
      </p:sp>
      <p:sp>
        <p:nvSpPr>
          <p:cNvPr id="82" name="Rectangle 81"/>
          <p:cNvSpPr/>
          <p:nvPr/>
        </p:nvSpPr>
        <p:spPr>
          <a:xfrm>
            <a:off x="86916" y="4928765"/>
            <a:ext cx="223330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600" i="1" kern="1200" dirty="0">
                <a:solidFill>
                  <a:srgbClr val="FFFFFF"/>
                </a:solidFill>
                <a:latin typeface="Open Sans Light"/>
                <a:ea typeface="+mn-ea"/>
                <a:cs typeface="+mn-cs"/>
              </a:rPr>
              <a:t>Reference: The Creative Studio at Deloitte, London. J13988</a:t>
            </a:r>
            <a:endParaRPr lang="en-US" sz="2700" i="1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72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2561"/>
          <a:stretch/>
        </p:blipFill>
        <p:spPr>
          <a:xfrm>
            <a:off x="2382" y="1980972"/>
            <a:ext cx="9141619" cy="2150773"/>
          </a:xfrm>
          <a:prstGeom prst="rect">
            <a:avLst/>
          </a:prstGeom>
        </p:spPr>
      </p:pic>
      <p:sp>
        <p:nvSpPr>
          <p:cNvPr id="4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3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sp>
        <p:nvSpPr>
          <p:cNvPr id="5" name="Google Shape;59;p14"/>
          <p:cNvSpPr txBox="1">
            <a:spLocks/>
          </p:cNvSpPr>
          <p:nvPr/>
        </p:nvSpPr>
        <p:spPr>
          <a:xfrm>
            <a:off x="311700" y="985266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2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RPA can do are the following…</a:t>
            </a:r>
          </a:p>
        </p:txBody>
      </p:sp>
      <p:sp>
        <p:nvSpPr>
          <p:cNvPr id="7" name="Rectangle 6"/>
          <p:cNvSpPr/>
          <p:nvPr/>
        </p:nvSpPr>
        <p:spPr>
          <a:xfrm>
            <a:off x="86916" y="4928765"/>
            <a:ext cx="223330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600" i="1" kern="1200" dirty="0">
                <a:solidFill>
                  <a:prstClr val="white"/>
                </a:solidFill>
                <a:latin typeface="Open Sans Light"/>
                <a:ea typeface="+mn-ea"/>
                <a:cs typeface="+mn-cs"/>
              </a:rPr>
              <a:t>Reference: The Creative Studio at Deloitte, London. J13988</a:t>
            </a:r>
            <a:endParaRPr lang="en-US" sz="2700" i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686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630" y="2985279"/>
            <a:ext cx="785813" cy="121086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161" y="3945393"/>
            <a:ext cx="1646271" cy="123311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509" y="3210468"/>
            <a:ext cx="1708232" cy="10496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363" y="2640557"/>
            <a:ext cx="2633252" cy="136726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969" y="1599690"/>
            <a:ext cx="1737619" cy="11563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395" y="1925108"/>
            <a:ext cx="1677050" cy="125616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644" y="2037471"/>
            <a:ext cx="803672" cy="800100"/>
          </a:xfrm>
          <a:prstGeom prst="rect">
            <a:avLst/>
          </a:prstGeom>
        </p:spPr>
      </p:pic>
      <p:sp>
        <p:nvSpPr>
          <p:cNvPr id="10" name="Down Arrow 9"/>
          <p:cNvSpPr/>
          <p:nvPr/>
        </p:nvSpPr>
        <p:spPr>
          <a:xfrm rot="10800000">
            <a:off x="4410689" y="2632847"/>
            <a:ext cx="164306" cy="257416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Down Arrow 10"/>
          <p:cNvSpPr/>
          <p:nvPr/>
        </p:nvSpPr>
        <p:spPr>
          <a:xfrm rot="14463484">
            <a:off x="5192833" y="2425555"/>
            <a:ext cx="164306" cy="81939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2" name="Down Arrow 11"/>
          <p:cNvSpPr/>
          <p:nvPr/>
        </p:nvSpPr>
        <p:spPr>
          <a:xfrm rot="16200000">
            <a:off x="5321613" y="3006040"/>
            <a:ext cx="164306" cy="63629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 rot="6849147">
            <a:off x="3531304" y="2572911"/>
            <a:ext cx="164306" cy="63629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4" name="Down Arrow 13"/>
          <p:cNvSpPr/>
          <p:nvPr/>
        </p:nvSpPr>
        <p:spPr>
          <a:xfrm rot="4113816">
            <a:off x="3398708" y="3224378"/>
            <a:ext cx="164306" cy="63629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581" y="3543557"/>
            <a:ext cx="803672" cy="803672"/>
          </a:xfrm>
          <a:prstGeom prst="rect">
            <a:avLst/>
          </a:prstGeom>
        </p:spPr>
      </p:pic>
      <p:sp>
        <p:nvSpPr>
          <p:cNvPr id="16" name="Down Arrow 15"/>
          <p:cNvSpPr/>
          <p:nvPr/>
        </p:nvSpPr>
        <p:spPr>
          <a:xfrm rot="16959414">
            <a:off x="5505773" y="3447491"/>
            <a:ext cx="164306" cy="70151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7444" y="4430872"/>
            <a:ext cx="502559" cy="46175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163" y="4430872"/>
            <a:ext cx="469076" cy="469076"/>
          </a:xfrm>
          <a:prstGeom prst="rect">
            <a:avLst/>
          </a:prstGeom>
        </p:spPr>
      </p:pic>
      <p:sp>
        <p:nvSpPr>
          <p:cNvPr id="19" name="Down Arrow 18"/>
          <p:cNvSpPr/>
          <p:nvPr/>
        </p:nvSpPr>
        <p:spPr>
          <a:xfrm rot="19463203">
            <a:off x="5021989" y="4034355"/>
            <a:ext cx="164306" cy="495766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20" name="Down Arrow 19"/>
          <p:cNvSpPr/>
          <p:nvPr/>
        </p:nvSpPr>
        <p:spPr>
          <a:xfrm rot="2066833">
            <a:off x="3762652" y="3914099"/>
            <a:ext cx="166398" cy="46371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en-US" sz="674" b="1" kern="1200">
              <a:ln w="22225">
                <a:solidFill>
                  <a:srgbClr val="ED7D31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</a:endParaRPr>
          </a:p>
        </p:txBody>
      </p:sp>
      <p:sp>
        <p:nvSpPr>
          <p:cNvPr id="21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3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sp>
        <p:nvSpPr>
          <p:cNvPr id="22" name="Google Shape;59;p14"/>
          <p:cNvSpPr txBox="1">
            <a:spLocks/>
          </p:cNvSpPr>
          <p:nvPr/>
        </p:nvSpPr>
        <p:spPr>
          <a:xfrm>
            <a:off x="311700" y="985266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2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pplications it can control?</a:t>
            </a:r>
          </a:p>
        </p:txBody>
      </p:sp>
    </p:spTree>
    <p:extLst>
      <p:ext uri="{BB962C8B-B14F-4D97-AF65-F5344CB8AC3E}">
        <p14:creationId xmlns:p14="http://schemas.microsoft.com/office/powerpoint/2010/main" val="493144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6" grpId="0" animBg="1"/>
      <p:bldP spid="19" grpId="0" animBg="1"/>
      <p:bldP spid="2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 rot="16200000">
            <a:off x="7145071" y="2262352"/>
            <a:ext cx="1494065" cy="3851129"/>
            <a:chOff x="9374415" y="2906904"/>
            <a:chExt cx="1992086" cy="4942114"/>
          </a:xfrm>
        </p:grpSpPr>
        <p:sp>
          <p:nvSpPr>
            <p:cNvPr id="7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algn="ctr">
                <a:buClrTx/>
                <a:buFontTx/>
                <a:buNone/>
              </a:pPr>
              <a:endParaRPr sz="1350" kern="1200" dirty="0">
                <a:solidFill>
                  <a:prstClr val="whit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8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9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32" name="Group 31"/>
          <p:cNvGrpSpPr/>
          <p:nvPr/>
        </p:nvGrpSpPr>
        <p:grpSpPr>
          <a:xfrm rot="5400000">
            <a:off x="530677" y="641210"/>
            <a:ext cx="1494065" cy="3706586"/>
            <a:chOff x="838200" y="2906904"/>
            <a:chExt cx="1992086" cy="4942114"/>
          </a:xfrm>
        </p:grpSpPr>
        <p:sp>
          <p:nvSpPr>
            <p:cNvPr id="15" name="Google Shape;185;p27"/>
            <p:cNvSpPr/>
            <p:nvPr/>
          </p:nvSpPr>
          <p:spPr>
            <a:xfrm>
              <a:off x="838200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270" wrap="square" lIns="68569" tIns="34275" rIns="68569" bIns="34275" anchor="ctr" anchorCtr="0">
              <a:noAutofit/>
            </a:bodyPr>
            <a:lstStyle/>
            <a:p>
              <a:pPr algn="ctr">
                <a:buClrTx/>
                <a:buFontTx/>
                <a:buNone/>
              </a:pPr>
              <a:endParaRPr sz="1350" kern="1200" dirty="0">
                <a:solidFill>
                  <a:prstClr val="whit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" name="Google Shape;186;p27"/>
            <p:cNvGrpSpPr/>
            <p:nvPr/>
          </p:nvGrpSpPr>
          <p:grpSpPr>
            <a:xfrm>
              <a:off x="1072243" y="3200818"/>
              <a:ext cx="1524000" cy="1523999"/>
              <a:chOff x="1409702" y="1240972"/>
              <a:chExt cx="1524000" cy="1523999"/>
            </a:xfrm>
          </p:grpSpPr>
          <p:sp>
            <p:nvSpPr>
              <p:cNvPr id="17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9" name="Google Shape;201;p27"/>
            <p:cNvGrpSpPr/>
            <p:nvPr/>
          </p:nvGrpSpPr>
          <p:grpSpPr>
            <a:xfrm>
              <a:off x="1516680" y="3644986"/>
              <a:ext cx="635127" cy="635663"/>
              <a:chOff x="2433" y="205"/>
              <a:chExt cx="2371" cy="2373"/>
            </a:xfrm>
          </p:grpSpPr>
          <p:sp>
            <p:nvSpPr>
              <p:cNvPr id="20" name="Google Shape;202;p27"/>
              <p:cNvSpPr/>
              <p:nvPr/>
            </p:nvSpPr>
            <p:spPr>
              <a:xfrm>
                <a:off x="2864" y="205"/>
                <a:ext cx="1940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04354" y="89412"/>
                    </a:moveTo>
                    <a:lnTo>
                      <a:pt x="100458" y="99353"/>
                    </a:lnTo>
                    <a:lnTo>
                      <a:pt x="106271" y="99353"/>
                    </a:lnTo>
                    <a:lnTo>
                      <a:pt x="105374" y="94383"/>
                    </a:lnTo>
                    <a:lnTo>
                      <a:pt x="104354" y="89412"/>
                    </a:lnTo>
                    <a:close/>
                    <a:moveTo>
                      <a:pt x="97335" y="66527"/>
                    </a:moveTo>
                    <a:lnTo>
                      <a:pt x="84936" y="99353"/>
                    </a:lnTo>
                    <a:lnTo>
                      <a:pt x="89543" y="99353"/>
                    </a:lnTo>
                    <a:lnTo>
                      <a:pt x="99747" y="73081"/>
                    </a:lnTo>
                    <a:lnTo>
                      <a:pt x="98572" y="69804"/>
                    </a:lnTo>
                    <a:lnTo>
                      <a:pt x="97335" y="66527"/>
                    </a:lnTo>
                    <a:close/>
                    <a:moveTo>
                      <a:pt x="86761" y="46372"/>
                    </a:moveTo>
                    <a:lnTo>
                      <a:pt x="66786" y="99353"/>
                    </a:lnTo>
                    <a:lnTo>
                      <a:pt x="74114" y="99353"/>
                    </a:lnTo>
                    <a:lnTo>
                      <a:pt x="91275" y="53855"/>
                    </a:lnTo>
                    <a:lnTo>
                      <a:pt x="88616" y="49267"/>
                    </a:lnTo>
                    <a:lnTo>
                      <a:pt x="86761" y="46372"/>
                    </a:lnTo>
                    <a:close/>
                    <a:moveTo>
                      <a:pt x="73929" y="31624"/>
                    </a:moveTo>
                    <a:lnTo>
                      <a:pt x="50646" y="93454"/>
                    </a:lnTo>
                    <a:lnTo>
                      <a:pt x="53986" y="99353"/>
                    </a:lnTo>
                    <a:lnTo>
                      <a:pt x="55964" y="99353"/>
                    </a:lnTo>
                    <a:lnTo>
                      <a:pt x="79494" y="36977"/>
                    </a:lnTo>
                    <a:lnTo>
                      <a:pt x="76743" y="34192"/>
                    </a:lnTo>
                    <a:lnTo>
                      <a:pt x="73929" y="31624"/>
                    </a:lnTo>
                    <a:close/>
                    <a:moveTo>
                      <a:pt x="27425" y="26162"/>
                    </a:moveTo>
                    <a:lnTo>
                      <a:pt x="25601" y="27255"/>
                    </a:lnTo>
                    <a:lnTo>
                      <a:pt x="22695" y="29330"/>
                    </a:lnTo>
                    <a:lnTo>
                      <a:pt x="19819" y="31624"/>
                    </a:lnTo>
                    <a:lnTo>
                      <a:pt x="17036" y="34192"/>
                    </a:lnTo>
                    <a:lnTo>
                      <a:pt x="21303" y="41620"/>
                    </a:lnTo>
                    <a:lnTo>
                      <a:pt x="27425" y="26162"/>
                    </a:lnTo>
                    <a:close/>
                    <a:moveTo>
                      <a:pt x="58778" y="22721"/>
                    </a:moveTo>
                    <a:lnTo>
                      <a:pt x="39360" y="73573"/>
                    </a:lnTo>
                    <a:lnTo>
                      <a:pt x="44153" y="81984"/>
                    </a:lnTo>
                    <a:lnTo>
                      <a:pt x="65395" y="25616"/>
                    </a:lnTo>
                    <a:lnTo>
                      <a:pt x="62087" y="23978"/>
                    </a:lnTo>
                    <a:lnTo>
                      <a:pt x="58778" y="22721"/>
                    </a:lnTo>
                    <a:close/>
                    <a:moveTo>
                      <a:pt x="46936" y="20646"/>
                    </a:moveTo>
                    <a:lnTo>
                      <a:pt x="43658" y="20810"/>
                    </a:lnTo>
                    <a:lnTo>
                      <a:pt x="40381" y="21301"/>
                    </a:lnTo>
                    <a:lnTo>
                      <a:pt x="27735" y="53035"/>
                    </a:lnTo>
                    <a:lnTo>
                      <a:pt x="32867" y="62102"/>
                    </a:lnTo>
                    <a:lnTo>
                      <a:pt x="48667" y="20755"/>
                    </a:lnTo>
                    <a:lnTo>
                      <a:pt x="46936" y="20646"/>
                    </a:lnTo>
                    <a:close/>
                    <a:moveTo>
                      <a:pt x="46936" y="0"/>
                    </a:moveTo>
                    <a:lnTo>
                      <a:pt x="51110" y="163"/>
                    </a:lnTo>
                    <a:lnTo>
                      <a:pt x="55284" y="764"/>
                    </a:lnTo>
                    <a:lnTo>
                      <a:pt x="59397" y="1802"/>
                    </a:lnTo>
                    <a:lnTo>
                      <a:pt x="63478" y="3222"/>
                    </a:lnTo>
                    <a:lnTo>
                      <a:pt x="67436" y="5025"/>
                    </a:lnTo>
                    <a:lnTo>
                      <a:pt x="71393" y="7264"/>
                    </a:lnTo>
                    <a:lnTo>
                      <a:pt x="75228" y="9831"/>
                    </a:lnTo>
                    <a:lnTo>
                      <a:pt x="79000" y="12835"/>
                    </a:lnTo>
                    <a:lnTo>
                      <a:pt x="82648" y="16167"/>
                    </a:lnTo>
                    <a:lnTo>
                      <a:pt x="86235" y="19881"/>
                    </a:lnTo>
                    <a:lnTo>
                      <a:pt x="89636" y="23868"/>
                    </a:lnTo>
                    <a:lnTo>
                      <a:pt x="92945" y="28293"/>
                    </a:lnTo>
                    <a:lnTo>
                      <a:pt x="96129" y="33045"/>
                    </a:lnTo>
                    <a:lnTo>
                      <a:pt x="99160" y="38070"/>
                    </a:lnTo>
                    <a:lnTo>
                      <a:pt x="101973" y="43422"/>
                    </a:lnTo>
                    <a:lnTo>
                      <a:pt x="104601" y="49048"/>
                    </a:lnTo>
                    <a:lnTo>
                      <a:pt x="107075" y="54783"/>
                    </a:lnTo>
                    <a:lnTo>
                      <a:pt x="109363" y="60846"/>
                    </a:lnTo>
                    <a:lnTo>
                      <a:pt x="111404" y="67073"/>
                    </a:lnTo>
                    <a:lnTo>
                      <a:pt x="113290" y="73573"/>
                    </a:lnTo>
                    <a:lnTo>
                      <a:pt x="114960" y="80291"/>
                    </a:lnTo>
                    <a:lnTo>
                      <a:pt x="116382" y="87064"/>
                    </a:lnTo>
                    <a:lnTo>
                      <a:pt x="117619" y="94000"/>
                    </a:lnTo>
                    <a:lnTo>
                      <a:pt x="118608" y="101101"/>
                    </a:lnTo>
                    <a:lnTo>
                      <a:pt x="119412" y="108311"/>
                    </a:lnTo>
                    <a:lnTo>
                      <a:pt x="120000" y="115685"/>
                    </a:lnTo>
                    <a:lnTo>
                      <a:pt x="119969" y="116777"/>
                    </a:lnTo>
                    <a:lnTo>
                      <a:pt x="119783" y="117815"/>
                    </a:lnTo>
                    <a:lnTo>
                      <a:pt x="119412" y="118743"/>
                    </a:lnTo>
                    <a:lnTo>
                      <a:pt x="118917" y="119453"/>
                    </a:lnTo>
                    <a:lnTo>
                      <a:pt x="118330" y="119836"/>
                    </a:lnTo>
                    <a:lnTo>
                      <a:pt x="117773" y="120000"/>
                    </a:lnTo>
                    <a:lnTo>
                      <a:pt x="50090" y="120000"/>
                    </a:lnTo>
                    <a:lnTo>
                      <a:pt x="49502" y="119945"/>
                    </a:lnTo>
                    <a:lnTo>
                      <a:pt x="48946" y="119508"/>
                    </a:lnTo>
                    <a:lnTo>
                      <a:pt x="48482" y="118907"/>
                    </a:lnTo>
                    <a:lnTo>
                      <a:pt x="618" y="34519"/>
                    </a:lnTo>
                    <a:lnTo>
                      <a:pt x="278" y="33645"/>
                    </a:lnTo>
                    <a:lnTo>
                      <a:pt x="61" y="32662"/>
                    </a:lnTo>
                    <a:lnTo>
                      <a:pt x="0" y="31515"/>
                    </a:lnTo>
                    <a:lnTo>
                      <a:pt x="92" y="30423"/>
                    </a:lnTo>
                    <a:lnTo>
                      <a:pt x="401" y="29385"/>
                    </a:lnTo>
                    <a:lnTo>
                      <a:pt x="803" y="28620"/>
                    </a:lnTo>
                    <a:lnTo>
                      <a:pt x="4112" y="24196"/>
                    </a:lnTo>
                    <a:lnTo>
                      <a:pt x="7606" y="20100"/>
                    </a:lnTo>
                    <a:lnTo>
                      <a:pt x="11131" y="16331"/>
                    </a:lnTo>
                    <a:lnTo>
                      <a:pt x="14841" y="12999"/>
                    </a:lnTo>
                    <a:lnTo>
                      <a:pt x="18613" y="9995"/>
                    </a:lnTo>
                    <a:lnTo>
                      <a:pt x="22447" y="7428"/>
                    </a:lnTo>
                    <a:lnTo>
                      <a:pt x="26405" y="5134"/>
                    </a:lnTo>
                    <a:lnTo>
                      <a:pt x="30425" y="3331"/>
                    </a:lnTo>
                    <a:lnTo>
                      <a:pt x="34475" y="1911"/>
                    </a:lnTo>
                    <a:lnTo>
                      <a:pt x="38587" y="764"/>
                    </a:lnTo>
                    <a:lnTo>
                      <a:pt x="42731" y="218"/>
                    </a:lnTo>
                    <a:lnTo>
                      <a:pt x="46936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" name="Google Shape;203;p27"/>
              <p:cNvSpPr/>
              <p:nvPr/>
            </p:nvSpPr>
            <p:spPr>
              <a:xfrm>
                <a:off x="2433" y="634"/>
                <a:ext cx="1068" cy="170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35224" y="19448"/>
                    </a:moveTo>
                    <a:lnTo>
                      <a:pt x="32640" y="22583"/>
                    </a:lnTo>
                    <a:lnTo>
                      <a:pt x="30224" y="25860"/>
                    </a:lnTo>
                    <a:lnTo>
                      <a:pt x="28146" y="29172"/>
                    </a:lnTo>
                    <a:lnTo>
                      <a:pt x="26067" y="33082"/>
                    </a:lnTo>
                    <a:lnTo>
                      <a:pt x="24325" y="37028"/>
                    </a:lnTo>
                    <a:lnTo>
                      <a:pt x="22977" y="41045"/>
                    </a:lnTo>
                    <a:lnTo>
                      <a:pt x="22078" y="45132"/>
                    </a:lnTo>
                    <a:lnTo>
                      <a:pt x="21516" y="49254"/>
                    </a:lnTo>
                    <a:lnTo>
                      <a:pt x="21292" y="53376"/>
                    </a:lnTo>
                    <a:lnTo>
                      <a:pt x="21516" y="58132"/>
                    </a:lnTo>
                    <a:lnTo>
                      <a:pt x="22303" y="62889"/>
                    </a:lnTo>
                    <a:lnTo>
                      <a:pt x="23539" y="67504"/>
                    </a:lnTo>
                    <a:lnTo>
                      <a:pt x="25224" y="72084"/>
                    </a:lnTo>
                    <a:lnTo>
                      <a:pt x="27528" y="76559"/>
                    </a:lnTo>
                    <a:lnTo>
                      <a:pt x="30224" y="80927"/>
                    </a:lnTo>
                    <a:lnTo>
                      <a:pt x="33426" y="85261"/>
                    </a:lnTo>
                    <a:lnTo>
                      <a:pt x="36292" y="88502"/>
                    </a:lnTo>
                    <a:lnTo>
                      <a:pt x="39494" y="91708"/>
                    </a:lnTo>
                    <a:lnTo>
                      <a:pt x="42865" y="94809"/>
                    </a:lnTo>
                    <a:lnTo>
                      <a:pt x="46516" y="97839"/>
                    </a:lnTo>
                    <a:lnTo>
                      <a:pt x="50505" y="100657"/>
                    </a:lnTo>
                    <a:lnTo>
                      <a:pt x="94157" y="56265"/>
                    </a:lnTo>
                    <a:lnTo>
                      <a:pt x="35224" y="19448"/>
                    </a:lnTo>
                    <a:close/>
                    <a:moveTo>
                      <a:pt x="32471" y="0"/>
                    </a:moveTo>
                    <a:lnTo>
                      <a:pt x="33595" y="70"/>
                    </a:lnTo>
                    <a:lnTo>
                      <a:pt x="34662" y="317"/>
                    </a:lnTo>
                    <a:lnTo>
                      <a:pt x="35561" y="775"/>
                    </a:lnTo>
                    <a:lnTo>
                      <a:pt x="118764" y="52847"/>
                    </a:lnTo>
                    <a:lnTo>
                      <a:pt x="119494" y="53411"/>
                    </a:lnTo>
                    <a:lnTo>
                      <a:pt x="119943" y="54045"/>
                    </a:lnTo>
                    <a:lnTo>
                      <a:pt x="120000" y="54750"/>
                    </a:lnTo>
                    <a:lnTo>
                      <a:pt x="119831" y="55419"/>
                    </a:lnTo>
                    <a:lnTo>
                      <a:pt x="119438" y="56018"/>
                    </a:lnTo>
                    <a:lnTo>
                      <a:pt x="57752" y="118766"/>
                    </a:lnTo>
                    <a:lnTo>
                      <a:pt x="57022" y="119330"/>
                    </a:lnTo>
                    <a:lnTo>
                      <a:pt x="56067" y="119753"/>
                    </a:lnTo>
                    <a:lnTo>
                      <a:pt x="55000" y="119964"/>
                    </a:lnTo>
                    <a:lnTo>
                      <a:pt x="54269" y="120000"/>
                    </a:lnTo>
                    <a:lnTo>
                      <a:pt x="52977" y="119859"/>
                    </a:lnTo>
                    <a:lnTo>
                      <a:pt x="51741" y="119506"/>
                    </a:lnTo>
                    <a:lnTo>
                      <a:pt x="45730" y="116371"/>
                    </a:lnTo>
                    <a:lnTo>
                      <a:pt x="40056" y="113129"/>
                    </a:lnTo>
                    <a:lnTo>
                      <a:pt x="34775" y="109677"/>
                    </a:lnTo>
                    <a:lnTo>
                      <a:pt x="29775" y="106048"/>
                    </a:lnTo>
                    <a:lnTo>
                      <a:pt x="25168" y="102313"/>
                    </a:lnTo>
                    <a:lnTo>
                      <a:pt x="20955" y="98438"/>
                    </a:lnTo>
                    <a:lnTo>
                      <a:pt x="17022" y="94351"/>
                    </a:lnTo>
                    <a:lnTo>
                      <a:pt x="13539" y="90193"/>
                    </a:lnTo>
                    <a:lnTo>
                      <a:pt x="10393" y="85930"/>
                    </a:lnTo>
                    <a:lnTo>
                      <a:pt x="7696" y="81561"/>
                    </a:lnTo>
                    <a:lnTo>
                      <a:pt x="5337" y="77017"/>
                    </a:lnTo>
                    <a:lnTo>
                      <a:pt x="3483" y="72436"/>
                    </a:lnTo>
                    <a:lnTo>
                      <a:pt x="1910" y="67751"/>
                    </a:lnTo>
                    <a:lnTo>
                      <a:pt x="842" y="63029"/>
                    </a:lnTo>
                    <a:lnTo>
                      <a:pt x="224" y="58238"/>
                    </a:lnTo>
                    <a:lnTo>
                      <a:pt x="0" y="53376"/>
                    </a:lnTo>
                    <a:lnTo>
                      <a:pt x="224" y="48655"/>
                    </a:lnTo>
                    <a:lnTo>
                      <a:pt x="842" y="43899"/>
                    </a:lnTo>
                    <a:lnTo>
                      <a:pt x="1910" y="39283"/>
                    </a:lnTo>
                    <a:lnTo>
                      <a:pt x="3370" y="34668"/>
                    </a:lnTo>
                    <a:lnTo>
                      <a:pt x="5337" y="30088"/>
                    </a:lnTo>
                    <a:lnTo>
                      <a:pt x="7640" y="25613"/>
                    </a:lnTo>
                    <a:lnTo>
                      <a:pt x="10280" y="21209"/>
                    </a:lnTo>
                    <a:lnTo>
                      <a:pt x="13370" y="16911"/>
                    </a:lnTo>
                    <a:lnTo>
                      <a:pt x="16853" y="12718"/>
                    </a:lnTo>
                    <a:lnTo>
                      <a:pt x="20674" y="8667"/>
                    </a:lnTo>
                    <a:lnTo>
                      <a:pt x="24943" y="4756"/>
                    </a:lnTo>
                    <a:lnTo>
                      <a:pt x="29494" y="986"/>
                    </a:lnTo>
                    <a:lnTo>
                      <a:pt x="30280" y="458"/>
                    </a:lnTo>
                    <a:lnTo>
                      <a:pt x="31348" y="176"/>
                    </a:lnTo>
                    <a:lnTo>
                      <a:pt x="32471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" name="Google Shape;204;p27"/>
              <p:cNvSpPr/>
              <p:nvPr/>
            </p:nvSpPr>
            <p:spPr>
              <a:xfrm>
                <a:off x="3091" y="1479"/>
                <a:ext cx="1713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42054" y="0"/>
                    </a:moveTo>
                    <a:lnTo>
                      <a:pt x="117478" y="0"/>
                    </a:lnTo>
                    <a:lnTo>
                      <a:pt x="118109" y="163"/>
                    </a:lnTo>
                    <a:lnTo>
                      <a:pt x="118774" y="654"/>
                    </a:lnTo>
                    <a:lnTo>
                      <a:pt x="119334" y="1364"/>
                    </a:lnTo>
                    <a:lnTo>
                      <a:pt x="119754" y="2291"/>
                    </a:lnTo>
                    <a:lnTo>
                      <a:pt x="119964" y="3328"/>
                    </a:lnTo>
                    <a:lnTo>
                      <a:pt x="119999" y="4420"/>
                    </a:lnTo>
                    <a:lnTo>
                      <a:pt x="119334" y="11787"/>
                    </a:lnTo>
                    <a:lnTo>
                      <a:pt x="118424" y="18990"/>
                    </a:lnTo>
                    <a:lnTo>
                      <a:pt x="117303" y="26084"/>
                    </a:lnTo>
                    <a:lnTo>
                      <a:pt x="115903" y="33015"/>
                    </a:lnTo>
                    <a:lnTo>
                      <a:pt x="114292" y="39781"/>
                    </a:lnTo>
                    <a:lnTo>
                      <a:pt x="112401" y="46439"/>
                    </a:lnTo>
                    <a:lnTo>
                      <a:pt x="110265" y="52878"/>
                    </a:lnTo>
                    <a:lnTo>
                      <a:pt x="107954" y="59208"/>
                    </a:lnTo>
                    <a:lnTo>
                      <a:pt x="105363" y="65156"/>
                    </a:lnTo>
                    <a:lnTo>
                      <a:pt x="102562" y="70995"/>
                    </a:lnTo>
                    <a:lnTo>
                      <a:pt x="99585" y="76616"/>
                    </a:lnTo>
                    <a:lnTo>
                      <a:pt x="96399" y="81964"/>
                    </a:lnTo>
                    <a:lnTo>
                      <a:pt x="92967" y="86984"/>
                    </a:lnTo>
                    <a:lnTo>
                      <a:pt x="89360" y="91732"/>
                    </a:lnTo>
                    <a:lnTo>
                      <a:pt x="85614" y="96152"/>
                    </a:lnTo>
                    <a:lnTo>
                      <a:pt x="81762" y="100136"/>
                    </a:lnTo>
                    <a:lnTo>
                      <a:pt x="77700" y="103847"/>
                    </a:lnTo>
                    <a:lnTo>
                      <a:pt x="73568" y="107175"/>
                    </a:lnTo>
                    <a:lnTo>
                      <a:pt x="69296" y="110177"/>
                    </a:lnTo>
                    <a:lnTo>
                      <a:pt x="64954" y="112687"/>
                    </a:lnTo>
                    <a:lnTo>
                      <a:pt x="60472" y="114870"/>
                    </a:lnTo>
                    <a:lnTo>
                      <a:pt x="55990" y="116671"/>
                    </a:lnTo>
                    <a:lnTo>
                      <a:pt x="51368" y="118090"/>
                    </a:lnTo>
                    <a:lnTo>
                      <a:pt x="46711" y="119126"/>
                    </a:lnTo>
                    <a:lnTo>
                      <a:pt x="41984" y="119781"/>
                    </a:lnTo>
                    <a:lnTo>
                      <a:pt x="37257" y="120000"/>
                    </a:lnTo>
                    <a:lnTo>
                      <a:pt x="32529" y="119781"/>
                    </a:lnTo>
                    <a:lnTo>
                      <a:pt x="27907" y="119236"/>
                    </a:lnTo>
                    <a:lnTo>
                      <a:pt x="23355" y="118199"/>
                    </a:lnTo>
                    <a:lnTo>
                      <a:pt x="18838" y="116834"/>
                    </a:lnTo>
                    <a:lnTo>
                      <a:pt x="14391" y="115143"/>
                    </a:lnTo>
                    <a:lnTo>
                      <a:pt x="10049" y="112905"/>
                    </a:lnTo>
                    <a:lnTo>
                      <a:pt x="5742" y="110395"/>
                    </a:lnTo>
                    <a:lnTo>
                      <a:pt x="1470" y="107503"/>
                    </a:lnTo>
                    <a:lnTo>
                      <a:pt x="875" y="106848"/>
                    </a:lnTo>
                    <a:lnTo>
                      <a:pt x="420" y="106084"/>
                    </a:lnTo>
                    <a:lnTo>
                      <a:pt x="105" y="105047"/>
                    </a:lnTo>
                    <a:lnTo>
                      <a:pt x="0" y="103956"/>
                    </a:lnTo>
                    <a:lnTo>
                      <a:pt x="105" y="102810"/>
                    </a:lnTo>
                    <a:lnTo>
                      <a:pt x="420" y="101828"/>
                    </a:lnTo>
                    <a:lnTo>
                      <a:pt x="39883" y="1909"/>
                    </a:lnTo>
                    <a:lnTo>
                      <a:pt x="40338" y="1145"/>
                    </a:lnTo>
                    <a:lnTo>
                      <a:pt x="40828" y="600"/>
                    </a:lnTo>
                    <a:lnTo>
                      <a:pt x="41459" y="163"/>
                    </a:lnTo>
                    <a:lnTo>
                      <a:pt x="42054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3" name="Google Shape;203;p29"/>
          <p:cNvGrpSpPr/>
          <p:nvPr/>
        </p:nvGrpSpPr>
        <p:grpSpPr>
          <a:xfrm>
            <a:off x="6518191" y="3967606"/>
            <a:ext cx="499306" cy="440621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4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" name="Rectangle 28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sp>
        <p:nvSpPr>
          <p:cNvPr id="30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3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sp>
        <p:nvSpPr>
          <p:cNvPr id="31" name="Google Shape;59;p14"/>
          <p:cNvSpPr txBox="1">
            <a:spLocks/>
          </p:cNvSpPr>
          <p:nvPr/>
        </p:nvSpPr>
        <p:spPr>
          <a:xfrm>
            <a:off x="1798913" y="1026229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2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TTENDED VS ATTENED ROBOTS</a:t>
            </a:r>
          </a:p>
        </p:txBody>
      </p:sp>
      <p:sp>
        <p:nvSpPr>
          <p:cNvPr id="34" name="Google Shape;59;p14"/>
          <p:cNvSpPr txBox="1">
            <a:spLocks/>
          </p:cNvSpPr>
          <p:nvPr/>
        </p:nvSpPr>
        <p:spPr>
          <a:xfrm>
            <a:off x="-124359" y="2164724"/>
            <a:ext cx="1891926" cy="791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TTENDEDROBOT</a:t>
            </a:r>
          </a:p>
        </p:txBody>
      </p:sp>
      <p:sp>
        <p:nvSpPr>
          <p:cNvPr id="35" name="Google Shape;59;p14"/>
          <p:cNvSpPr txBox="1">
            <a:spLocks/>
          </p:cNvSpPr>
          <p:nvPr/>
        </p:nvSpPr>
        <p:spPr>
          <a:xfrm>
            <a:off x="7383142" y="3792040"/>
            <a:ext cx="1791206" cy="791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DED</a:t>
            </a:r>
          </a:p>
          <a:p>
            <a:pPr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T</a:t>
            </a:r>
          </a:p>
        </p:txBody>
      </p:sp>
      <p:sp>
        <p:nvSpPr>
          <p:cNvPr id="36" name="Google Shape;59;p14"/>
          <p:cNvSpPr txBox="1">
            <a:spLocks/>
          </p:cNvSpPr>
          <p:nvPr/>
        </p:nvSpPr>
        <p:spPr>
          <a:xfrm>
            <a:off x="3149803" y="2174648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1800" b="1" kern="1200" dirty="0">
                <a:solidFill>
                  <a:srgbClr val="408F7C"/>
                </a:solidFill>
              </a:rPr>
              <a:t>are robots that are scheduled to perform certain tasks</a:t>
            </a:r>
            <a:endParaRPr lang="en-US" sz="1800" b="1" dirty="0">
              <a:solidFill>
                <a:srgbClr val="408F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Google Shape;59;p14"/>
          <p:cNvSpPr txBox="1">
            <a:spLocks/>
          </p:cNvSpPr>
          <p:nvPr/>
        </p:nvSpPr>
        <p:spPr>
          <a:xfrm>
            <a:off x="313905" y="3953365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>
                <a:prstClr val="black"/>
              </a:buClr>
            </a:pPr>
            <a:r>
              <a:rPr lang="en-US" sz="1800" b="1" kern="1200" dirty="0">
                <a:solidFill>
                  <a:srgbClr val="B83B19"/>
                </a:solidFill>
              </a:rPr>
              <a:t>are robots that needs human intervention to start or stop the workflow or process</a:t>
            </a:r>
            <a:endParaRPr lang="en-US" sz="1800" b="1" dirty="0">
              <a:solidFill>
                <a:srgbClr val="B83B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077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 rot="16200000">
            <a:off x="7145071" y="2262352"/>
            <a:ext cx="1494065" cy="3851129"/>
            <a:chOff x="9374415" y="2906904"/>
            <a:chExt cx="1992086" cy="4942114"/>
          </a:xfrm>
        </p:grpSpPr>
        <p:sp>
          <p:nvSpPr>
            <p:cNvPr id="7" name="Google Shape;189;p27"/>
            <p:cNvSpPr/>
            <p:nvPr/>
          </p:nvSpPr>
          <p:spPr>
            <a:xfrm>
              <a:off x="9374415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B83B19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" wrap="square" lIns="68569" tIns="34275" rIns="68569" bIns="34275" anchor="ctr" anchorCtr="0">
              <a:noAutofit/>
            </a:bodyPr>
            <a:lstStyle/>
            <a:p>
              <a:pPr algn="ctr">
                <a:buClrTx/>
                <a:buFontTx/>
                <a:buNone/>
              </a:pPr>
              <a:endParaRPr sz="1350" kern="1200" dirty="0">
                <a:solidFill>
                  <a:prstClr val="whit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8" name="Google Shape;190;p27"/>
            <p:cNvGrpSpPr/>
            <p:nvPr/>
          </p:nvGrpSpPr>
          <p:grpSpPr>
            <a:xfrm>
              <a:off x="9608458" y="3200818"/>
              <a:ext cx="1524000" cy="1523999"/>
              <a:chOff x="1409702" y="1240972"/>
              <a:chExt cx="1524000" cy="1523999"/>
            </a:xfrm>
          </p:grpSpPr>
          <p:sp>
            <p:nvSpPr>
              <p:cNvPr id="9" name="Google Shape;191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F9DCD5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" name="Google Shape;192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F9DCD5"/>
              </a:solidFill>
              <a:ln w="28575" cap="flat" cmpd="sng">
                <a:solidFill>
                  <a:srgbClr val="7A271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32" name="Group 31"/>
          <p:cNvGrpSpPr/>
          <p:nvPr/>
        </p:nvGrpSpPr>
        <p:grpSpPr>
          <a:xfrm rot="5400000">
            <a:off x="530677" y="641210"/>
            <a:ext cx="1494065" cy="3706586"/>
            <a:chOff x="838200" y="2906904"/>
            <a:chExt cx="1992086" cy="4942114"/>
          </a:xfrm>
        </p:grpSpPr>
        <p:sp>
          <p:nvSpPr>
            <p:cNvPr id="15" name="Google Shape;185;p27"/>
            <p:cNvSpPr/>
            <p:nvPr/>
          </p:nvSpPr>
          <p:spPr>
            <a:xfrm>
              <a:off x="838200" y="2906904"/>
              <a:ext cx="1992086" cy="49421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08F7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vert="vert270" wrap="square" lIns="68569" tIns="34275" rIns="68569" bIns="34275" anchor="ctr" anchorCtr="0">
              <a:noAutofit/>
            </a:bodyPr>
            <a:lstStyle/>
            <a:p>
              <a:pPr algn="ctr">
                <a:buClrTx/>
                <a:buFontTx/>
                <a:buNone/>
              </a:pPr>
              <a:endParaRPr sz="1350" kern="1200" dirty="0">
                <a:solidFill>
                  <a:prstClr val="white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6" name="Google Shape;186;p27"/>
            <p:cNvGrpSpPr/>
            <p:nvPr/>
          </p:nvGrpSpPr>
          <p:grpSpPr>
            <a:xfrm>
              <a:off x="1072243" y="3200818"/>
              <a:ext cx="1524000" cy="1523999"/>
              <a:chOff x="1409702" y="1240972"/>
              <a:chExt cx="1524000" cy="1523999"/>
            </a:xfrm>
          </p:grpSpPr>
          <p:sp>
            <p:nvSpPr>
              <p:cNvPr id="17" name="Google Shape;187;p27"/>
              <p:cNvSpPr/>
              <p:nvPr/>
            </p:nvSpPr>
            <p:spPr>
              <a:xfrm>
                <a:off x="1409702" y="1240972"/>
                <a:ext cx="1524000" cy="1523999"/>
              </a:xfrm>
              <a:prstGeom prst="ellipse">
                <a:avLst/>
              </a:prstGeom>
              <a:solidFill>
                <a:srgbClr val="DEF0EC"/>
              </a:solidFill>
              <a:ln>
                <a:noFill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188;p27"/>
              <p:cNvSpPr/>
              <p:nvPr/>
            </p:nvSpPr>
            <p:spPr>
              <a:xfrm>
                <a:off x="1537611" y="1366158"/>
                <a:ext cx="1268183" cy="1273627"/>
              </a:xfrm>
              <a:prstGeom prst="ellipse">
                <a:avLst/>
              </a:prstGeom>
              <a:solidFill>
                <a:srgbClr val="DEF0EC"/>
              </a:solidFill>
              <a:ln w="28575" cap="flat" cmpd="sng">
                <a:solidFill>
                  <a:srgbClr val="2B5F53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50800" dist="38100" dir="5400000" algn="t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Tx/>
                  <a:buFontTx/>
                  <a:buNone/>
                </a:pPr>
                <a:endParaRPr sz="1350" kern="1200">
                  <a:solidFill>
                    <a:prstClr val="white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9" name="Google Shape;201;p27"/>
            <p:cNvGrpSpPr/>
            <p:nvPr/>
          </p:nvGrpSpPr>
          <p:grpSpPr>
            <a:xfrm>
              <a:off x="1516680" y="3644986"/>
              <a:ext cx="635127" cy="635663"/>
              <a:chOff x="2433" y="205"/>
              <a:chExt cx="2371" cy="2373"/>
            </a:xfrm>
          </p:grpSpPr>
          <p:sp>
            <p:nvSpPr>
              <p:cNvPr id="20" name="Google Shape;202;p27"/>
              <p:cNvSpPr/>
              <p:nvPr/>
            </p:nvSpPr>
            <p:spPr>
              <a:xfrm>
                <a:off x="2864" y="205"/>
                <a:ext cx="1940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104354" y="89412"/>
                    </a:moveTo>
                    <a:lnTo>
                      <a:pt x="100458" y="99353"/>
                    </a:lnTo>
                    <a:lnTo>
                      <a:pt x="106271" y="99353"/>
                    </a:lnTo>
                    <a:lnTo>
                      <a:pt x="105374" y="94383"/>
                    </a:lnTo>
                    <a:lnTo>
                      <a:pt x="104354" y="89412"/>
                    </a:lnTo>
                    <a:close/>
                    <a:moveTo>
                      <a:pt x="97335" y="66527"/>
                    </a:moveTo>
                    <a:lnTo>
                      <a:pt x="84936" y="99353"/>
                    </a:lnTo>
                    <a:lnTo>
                      <a:pt x="89543" y="99353"/>
                    </a:lnTo>
                    <a:lnTo>
                      <a:pt x="99747" y="73081"/>
                    </a:lnTo>
                    <a:lnTo>
                      <a:pt x="98572" y="69804"/>
                    </a:lnTo>
                    <a:lnTo>
                      <a:pt x="97335" y="66527"/>
                    </a:lnTo>
                    <a:close/>
                    <a:moveTo>
                      <a:pt x="86761" y="46372"/>
                    </a:moveTo>
                    <a:lnTo>
                      <a:pt x="66786" y="99353"/>
                    </a:lnTo>
                    <a:lnTo>
                      <a:pt x="74114" y="99353"/>
                    </a:lnTo>
                    <a:lnTo>
                      <a:pt x="91275" y="53855"/>
                    </a:lnTo>
                    <a:lnTo>
                      <a:pt x="88616" y="49267"/>
                    </a:lnTo>
                    <a:lnTo>
                      <a:pt x="86761" y="46372"/>
                    </a:lnTo>
                    <a:close/>
                    <a:moveTo>
                      <a:pt x="73929" y="31624"/>
                    </a:moveTo>
                    <a:lnTo>
                      <a:pt x="50646" y="93454"/>
                    </a:lnTo>
                    <a:lnTo>
                      <a:pt x="53986" y="99353"/>
                    </a:lnTo>
                    <a:lnTo>
                      <a:pt x="55964" y="99353"/>
                    </a:lnTo>
                    <a:lnTo>
                      <a:pt x="79494" y="36977"/>
                    </a:lnTo>
                    <a:lnTo>
                      <a:pt x="76743" y="34192"/>
                    </a:lnTo>
                    <a:lnTo>
                      <a:pt x="73929" y="31624"/>
                    </a:lnTo>
                    <a:close/>
                    <a:moveTo>
                      <a:pt x="27425" y="26162"/>
                    </a:moveTo>
                    <a:lnTo>
                      <a:pt x="25601" y="27255"/>
                    </a:lnTo>
                    <a:lnTo>
                      <a:pt x="22695" y="29330"/>
                    </a:lnTo>
                    <a:lnTo>
                      <a:pt x="19819" y="31624"/>
                    </a:lnTo>
                    <a:lnTo>
                      <a:pt x="17036" y="34192"/>
                    </a:lnTo>
                    <a:lnTo>
                      <a:pt x="21303" y="41620"/>
                    </a:lnTo>
                    <a:lnTo>
                      <a:pt x="27425" y="26162"/>
                    </a:lnTo>
                    <a:close/>
                    <a:moveTo>
                      <a:pt x="58778" y="22721"/>
                    </a:moveTo>
                    <a:lnTo>
                      <a:pt x="39360" y="73573"/>
                    </a:lnTo>
                    <a:lnTo>
                      <a:pt x="44153" y="81984"/>
                    </a:lnTo>
                    <a:lnTo>
                      <a:pt x="65395" y="25616"/>
                    </a:lnTo>
                    <a:lnTo>
                      <a:pt x="62087" y="23978"/>
                    </a:lnTo>
                    <a:lnTo>
                      <a:pt x="58778" y="22721"/>
                    </a:lnTo>
                    <a:close/>
                    <a:moveTo>
                      <a:pt x="46936" y="20646"/>
                    </a:moveTo>
                    <a:lnTo>
                      <a:pt x="43658" y="20810"/>
                    </a:lnTo>
                    <a:lnTo>
                      <a:pt x="40381" y="21301"/>
                    </a:lnTo>
                    <a:lnTo>
                      <a:pt x="27735" y="53035"/>
                    </a:lnTo>
                    <a:lnTo>
                      <a:pt x="32867" y="62102"/>
                    </a:lnTo>
                    <a:lnTo>
                      <a:pt x="48667" y="20755"/>
                    </a:lnTo>
                    <a:lnTo>
                      <a:pt x="46936" y="20646"/>
                    </a:lnTo>
                    <a:close/>
                    <a:moveTo>
                      <a:pt x="46936" y="0"/>
                    </a:moveTo>
                    <a:lnTo>
                      <a:pt x="51110" y="163"/>
                    </a:lnTo>
                    <a:lnTo>
                      <a:pt x="55284" y="764"/>
                    </a:lnTo>
                    <a:lnTo>
                      <a:pt x="59397" y="1802"/>
                    </a:lnTo>
                    <a:lnTo>
                      <a:pt x="63478" y="3222"/>
                    </a:lnTo>
                    <a:lnTo>
                      <a:pt x="67436" y="5025"/>
                    </a:lnTo>
                    <a:lnTo>
                      <a:pt x="71393" y="7264"/>
                    </a:lnTo>
                    <a:lnTo>
                      <a:pt x="75228" y="9831"/>
                    </a:lnTo>
                    <a:lnTo>
                      <a:pt x="79000" y="12835"/>
                    </a:lnTo>
                    <a:lnTo>
                      <a:pt x="82648" y="16167"/>
                    </a:lnTo>
                    <a:lnTo>
                      <a:pt x="86235" y="19881"/>
                    </a:lnTo>
                    <a:lnTo>
                      <a:pt x="89636" y="23868"/>
                    </a:lnTo>
                    <a:lnTo>
                      <a:pt x="92945" y="28293"/>
                    </a:lnTo>
                    <a:lnTo>
                      <a:pt x="96129" y="33045"/>
                    </a:lnTo>
                    <a:lnTo>
                      <a:pt x="99160" y="38070"/>
                    </a:lnTo>
                    <a:lnTo>
                      <a:pt x="101973" y="43422"/>
                    </a:lnTo>
                    <a:lnTo>
                      <a:pt x="104601" y="49048"/>
                    </a:lnTo>
                    <a:lnTo>
                      <a:pt x="107075" y="54783"/>
                    </a:lnTo>
                    <a:lnTo>
                      <a:pt x="109363" y="60846"/>
                    </a:lnTo>
                    <a:lnTo>
                      <a:pt x="111404" y="67073"/>
                    </a:lnTo>
                    <a:lnTo>
                      <a:pt x="113290" y="73573"/>
                    </a:lnTo>
                    <a:lnTo>
                      <a:pt x="114960" y="80291"/>
                    </a:lnTo>
                    <a:lnTo>
                      <a:pt x="116382" y="87064"/>
                    </a:lnTo>
                    <a:lnTo>
                      <a:pt x="117619" y="94000"/>
                    </a:lnTo>
                    <a:lnTo>
                      <a:pt x="118608" y="101101"/>
                    </a:lnTo>
                    <a:lnTo>
                      <a:pt x="119412" y="108311"/>
                    </a:lnTo>
                    <a:lnTo>
                      <a:pt x="120000" y="115685"/>
                    </a:lnTo>
                    <a:lnTo>
                      <a:pt x="119969" y="116777"/>
                    </a:lnTo>
                    <a:lnTo>
                      <a:pt x="119783" y="117815"/>
                    </a:lnTo>
                    <a:lnTo>
                      <a:pt x="119412" y="118743"/>
                    </a:lnTo>
                    <a:lnTo>
                      <a:pt x="118917" y="119453"/>
                    </a:lnTo>
                    <a:lnTo>
                      <a:pt x="118330" y="119836"/>
                    </a:lnTo>
                    <a:lnTo>
                      <a:pt x="117773" y="120000"/>
                    </a:lnTo>
                    <a:lnTo>
                      <a:pt x="50090" y="120000"/>
                    </a:lnTo>
                    <a:lnTo>
                      <a:pt x="49502" y="119945"/>
                    </a:lnTo>
                    <a:lnTo>
                      <a:pt x="48946" y="119508"/>
                    </a:lnTo>
                    <a:lnTo>
                      <a:pt x="48482" y="118907"/>
                    </a:lnTo>
                    <a:lnTo>
                      <a:pt x="618" y="34519"/>
                    </a:lnTo>
                    <a:lnTo>
                      <a:pt x="278" y="33645"/>
                    </a:lnTo>
                    <a:lnTo>
                      <a:pt x="61" y="32662"/>
                    </a:lnTo>
                    <a:lnTo>
                      <a:pt x="0" y="31515"/>
                    </a:lnTo>
                    <a:lnTo>
                      <a:pt x="92" y="30423"/>
                    </a:lnTo>
                    <a:lnTo>
                      <a:pt x="401" y="29385"/>
                    </a:lnTo>
                    <a:lnTo>
                      <a:pt x="803" y="28620"/>
                    </a:lnTo>
                    <a:lnTo>
                      <a:pt x="4112" y="24196"/>
                    </a:lnTo>
                    <a:lnTo>
                      <a:pt x="7606" y="20100"/>
                    </a:lnTo>
                    <a:lnTo>
                      <a:pt x="11131" y="16331"/>
                    </a:lnTo>
                    <a:lnTo>
                      <a:pt x="14841" y="12999"/>
                    </a:lnTo>
                    <a:lnTo>
                      <a:pt x="18613" y="9995"/>
                    </a:lnTo>
                    <a:lnTo>
                      <a:pt x="22447" y="7428"/>
                    </a:lnTo>
                    <a:lnTo>
                      <a:pt x="26405" y="5134"/>
                    </a:lnTo>
                    <a:lnTo>
                      <a:pt x="30425" y="3331"/>
                    </a:lnTo>
                    <a:lnTo>
                      <a:pt x="34475" y="1911"/>
                    </a:lnTo>
                    <a:lnTo>
                      <a:pt x="38587" y="764"/>
                    </a:lnTo>
                    <a:lnTo>
                      <a:pt x="42731" y="218"/>
                    </a:lnTo>
                    <a:lnTo>
                      <a:pt x="46936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" name="Google Shape;203;p27"/>
              <p:cNvSpPr/>
              <p:nvPr/>
            </p:nvSpPr>
            <p:spPr>
              <a:xfrm>
                <a:off x="2433" y="634"/>
                <a:ext cx="1068" cy="1703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35224" y="19448"/>
                    </a:moveTo>
                    <a:lnTo>
                      <a:pt x="32640" y="22583"/>
                    </a:lnTo>
                    <a:lnTo>
                      <a:pt x="30224" y="25860"/>
                    </a:lnTo>
                    <a:lnTo>
                      <a:pt x="28146" y="29172"/>
                    </a:lnTo>
                    <a:lnTo>
                      <a:pt x="26067" y="33082"/>
                    </a:lnTo>
                    <a:lnTo>
                      <a:pt x="24325" y="37028"/>
                    </a:lnTo>
                    <a:lnTo>
                      <a:pt x="22977" y="41045"/>
                    </a:lnTo>
                    <a:lnTo>
                      <a:pt x="22078" y="45132"/>
                    </a:lnTo>
                    <a:lnTo>
                      <a:pt x="21516" y="49254"/>
                    </a:lnTo>
                    <a:lnTo>
                      <a:pt x="21292" y="53376"/>
                    </a:lnTo>
                    <a:lnTo>
                      <a:pt x="21516" y="58132"/>
                    </a:lnTo>
                    <a:lnTo>
                      <a:pt x="22303" y="62889"/>
                    </a:lnTo>
                    <a:lnTo>
                      <a:pt x="23539" y="67504"/>
                    </a:lnTo>
                    <a:lnTo>
                      <a:pt x="25224" y="72084"/>
                    </a:lnTo>
                    <a:lnTo>
                      <a:pt x="27528" y="76559"/>
                    </a:lnTo>
                    <a:lnTo>
                      <a:pt x="30224" y="80927"/>
                    </a:lnTo>
                    <a:lnTo>
                      <a:pt x="33426" y="85261"/>
                    </a:lnTo>
                    <a:lnTo>
                      <a:pt x="36292" y="88502"/>
                    </a:lnTo>
                    <a:lnTo>
                      <a:pt x="39494" y="91708"/>
                    </a:lnTo>
                    <a:lnTo>
                      <a:pt x="42865" y="94809"/>
                    </a:lnTo>
                    <a:lnTo>
                      <a:pt x="46516" y="97839"/>
                    </a:lnTo>
                    <a:lnTo>
                      <a:pt x="50505" y="100657"/>
                    </a:lnTo>
                    <a:lnTo>
                      <a:pt x="94157" y="56265"/>
                    </a:lnTo>
                    <a:lnTo>
                      <a:pt x="35224" y="19448"/>
                    </a:lnTo>
                    <a:close/>
                    <a:moveTo>
                      <a:pt x="32471" y="0"/>
                    </a:moveTo>
                    <a:lnTo>
                      <a:pt x="33595" y="70"/>
                    </a:lnTo>
                    <a:lnTo>
                      <a:pt x="34662" y="317"/>
                    </a:lnTo>
                    <a:lnTo>
                      <a:pt x="35561" y="775"/>
                    </a:lnTo>
                    <a:lnTo>
                      <a:pt x="118764" y="52847"/>
                    </a:lnTo>
                    <a:lnTo>
                      <a:pt x="119494" y="53411"/>
                    </a:lnTo>
                    <a:lnTo>
                      <a:pt x="119943" y="54045"/>
                    </a:lnTo>
                    <a:lnTo>
                      <a:pt x="120000" y="54750"/>
                    </a:lnTo>
                    <a:lnTo>
                      <a:pt x="119831" y="55419"/>
                    </a:lnTo>
                    <a:lnTo>
                      <a:pt x="119438" y="56018"/>
                    </a:lnTo>
                    <a:lnTo>
                      <a:pt x="57752" y="118766"/>
                    </a:lnTo>
                    <a:lnTo>
                      <a:pt x="57022" y="119330"/>
                    </a:lnTo>
                    <a:lnTo>
                      <a:pt x="56067" y="119753"/>
                    </a:lnTo>
                    <a:lnTo>
                      <a:pt x="55000" y="119964"/>
                    </a:lnTo>
                    <a:lnTo>
                      <a:pt x="54269" y="120000"/>
                    </a:lnTo>
                    <a:lnTo>
                      <a:pt x="52977" y="119859"/>
                    </a:lnTo>
                    <a:lnTo>
                      <a:pt x="51741" y="119506"/>
                    </a:lnTo>
                    <a:lnTo>
                      <a:pt x="45730" y="116371"/>
                    </a:lnTo>
                    <a:lnTo>
                      <a:pt x="40056" y="113129"/>
                    </a:lnTo>
                    <a:lnTo>
                      <a:pt x="34775" y="109677"/>
                    </a:lnTo>
                    <a:lnTo>
                      <a:pt x="29775" y="106048"/>
                    </a:lnTo>
                    <a:lnTo>
                      <a:pt x="25168" y="102313"/>
                    </a:lnTo>
                    <a:lnTo>
                      <a:pt x="20955" y="98438"/>
                    </a:lnTo>
                    <a:lnTo>
                      <a:pt x="17022" y="94351"/>
                    </a:lnTo>
                    <a:lnTo>
                      <a:pt x="13539" y="90193"/>
                    </a:lnTo>
                    <a:lnTo>
                      <a:pt x="10393" y="85930"/>
                    </a:lnTo>
                    <a:lnTo>
                      <a:pt x="7696" y="81561"/>
                    </a:lnTo>
                    <a:lnTo>
                      <a:pt x="5337" y="77017"/>
                    </a:lnTo>
                    <a:lnTo>
                      <a:pt x="3483" y="72436"/>
                    </a:lnTo>
                    <a:lnTo>
                      <a:pt x="1910" y="67751"/>
                    </a:lnTo>
                    <a:lnTo>
                      <a:pt x="842" y="63029"/>
                    </a:lnTo>
                    <a:lnTo>
                      <a:pt x="224" y="58238"/>
                    </a:lnTo>
                    <a:lnTo>
                      <a:pt x="0" y="53376"/>
                    </a:lnTo>
                    <a:lnTo>
                      <a:pt x="224" y="48655"/>
                    </a:lnTo>
                    <a:lnTo>
                      <a:pt x="842" y="43899"/>
                    </a:lnTo>
                    <a:lnTo>
                      <a:pt x="1910" y="39283"/>
                    </a:lnTo>
                    <a:lnTo>
                      <a:pt x="3370" y="34668"/>
                    </a:lnTo>
                    <a:lnTo>
                      <a:pt x="5337" y="30088"/>
                    </a:lnTo>
                    <a:lnTo>
                      <a:pt x="7640" y="25613"/>
                    </a:lnTo>
                    <a:lnTo>
                      <a:pt x="10280" y="21209"/>
                    </a:lnTo>
                    <a:lnTo>
                      <a:pt x="13370" y="16911"/>
                    </a:lnTo>
                    <a:lnTo>
                      <a:pt x="16853" y="12718"/>
                    </a:lnTo>
                    <a:lnTo>
                      <a:pt x="20674" y="8667"/>
                    </a:lnTo>
                    <a:lnTo>
                      <a:pt x="24943" y="4756"/>
                    </a:lnTo>
                    <a:lnTo>
                      <a:pt x="29494" y="986"/>
                    </a:lnTo>
                    <a:lnTo>
                      <a:pt x="30280" y="458"/>
                    </a:lnTo>
                    <a:lnTo>
                      <a:pt x="31348" y="176"/>
                    </a:lnTo>
                    <a:lnTo>
                      <a:pt x="32471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" name="Google Shape;204;p27"/>
              <p:cNvSpPr/>
              <p:nvPr/>
            </p:nvSpPr>
            <p:spPr>
              <a:xfrm>
                <a:off x="3091" y="1479"/>
                <a:ext cx="1713" cy="1099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42054" y="0"/>
                    </a:moveTo>
                    <a:lnTo>
                      <a:pt x="117478" y="0"/>
                    </a:lnTo>
                    <a:lnTo>
                      <a:pt x="118109" y="163"/>
                    </a:lnTo>
                    <a:lnTo>
                      <a:pt x="118774" y="654"/>
                    </a:lnTo>
                    <a:lnTo>
                      <a:pt x="119334" y="1364"/>
                    </a:lnTo>
                    <a:lnTo>
                      <a:pt x="119754" y="2291"/>
                    </a:lnTo>
                    <a:lnTo>
                      <a:pt x="119964" y="3328"/>
                    </a:lnTo>
                    <a:lnTo>
                      <a:pt x="119999" y="4420"/>
                    </a:lnTo>
                    <a:lnTo>
                      <a:pt x="119334" y="11787"/>
                    </a:lnTo>
                    <a:lnTo>
                      <a:pt x="118424" y="18990"/>
                    </a:lnTo>
                    <a:lnTo>
                      <a:pt x="117303" y="26084"/>
                    </a:lnTo>
                    <a:lnTo>
                      <a:pt x="115903" y="33015"/>
                    </a:lnTo>
                    <a:lnTo>
                      <a:pt x="114292" y="39781"/>
                    </a:lnTo>
                    <a:lnTo>
                      <a:pt x="112401" y="46439"/>
                    </a:lnTo>
                    <a:lnTo>
                      <a:pt x="110265" y="52878"/>
                    </a:lnTo>
                    <a:lnTo>
                      <a:pt x="107954" y="59208"/>
                    </a:lnTo>
                    <a:lnTo>
                      <a:pt x="105363" y="65156"/>
                    </a:lnTo>
                    <a:lnTo>
                      <a:pt x="102562" y="70995"/>
                    </a:lnTo>
                    <a:lnTo>
                      <a:pt x="99585" y="76616"/>
                    </a:lnTo>
                    <a:lnTo>
                      <a:pt x="96399" y="81964"/>
                    </a:lnTo>
                    <a:lnTo>
                      <a:pt x="92967" y="86984"/>
                    </a:lnTo>
                    <a:lnTo>
                      <a:pt x="89360" y="91732"/>
                    </a:lnTo>
                    <a:lnTo>
                      <a:pt x="85614" y="96152"/>
                    </a:lnTo>
                    <a:lnTo>
                      <a:pt x="81762" y="100136"/>
                    </a:lnTo>
                    <a:lnTo>
                      <a:pt x="77700" y="103847"/>
                    </a:lnTo>
                    <a:lnTo>
                      <a:pt x="73568" y="107175"/>
                    </a:lnTo>
                    <a:lnTo>
                      <a:pt x="69296" y="110177"/>
                    </a:lnTo>
                    <a:lnTo>
                      <a:pt x="64954" y="112687"/>
                    </a:lnTo>
                    <a:lnTo>
                      <a:pt x="60472" y="114870"/>
                    </a:lnTo>
                    <a:lnTo>
                      <a:pt x="55990" y="116671"/>
                    </a:lnTo>
                    <a:lnTo>
                      <a:pt x="51368" y="118090"/>
                    </a:lnTo>
                    <a:lnTo>
                      <a:pt x="46711" y="119126"/>
                    </a:lnTo>
                    <a:lnTo>
                      <a:pt x="41984" y="119781"/>
                    </a:lnTo>
                    <a:lnTo>
                      <a:pt x="37257" y="120000"/>
                    </a:lnTo>
                    <a:lnTo>
                      <a:pt x="32529" y="119781"/>
                    </a:lnTo>
                    <a:lnTo>
                      <a:pt x="27907" y="119236"/>
                    </a:lnTo>
                    <a:lnTo>
                      <a:pt x="23355" y="118199"/>
                    </a:lnTo>
                    <a:lnTo>
                      <a:pt x="18838" y="116834"/>
                    </a:lnTo>
                    <a:lnTo>
                      <a:pt x="14391" y="115143"/>
                    </a:lnTo>
                    <a:lnTo>
                      <a:pt x="10049" y="112905"/>
                    </a:lnTo>
                    <a:lnTo>
                      <a:pt x="5742" y="110395"/>
                    </a:lnTo>
                    <a:lnTo>
                      <a:pt x="1470" y="107503"/>
                    </a:lnTo>
                    <a:lnTo>
                      <a:pt x="875" y="106848"/>
                    </a:lnTo>
                    <a:lnTo>
                      <a:pt x="420" y="106084"/>
                    </a:lnTo>
                    <a:lnTo>
                      <a:pt x="105" y="105047"/>
                    </a:lnTo>
                    <a:lnTo>
                      <a:pt x="0" y="103956"/>
                    </a:lnTo>
                    <a:lnTo>
                      <a:pt x="105" y="102810"/>
                    </a:lnTo>
                    <a:lnTo>
                      <a:pt x="420" y="101828"/>
                    </a:lnTo>
                    <a:lnTo>
                      <a:pt x="39883" y="1909"/>
                    </a:lnTo>
                    <a:lnTo>
                      <a:pt x="40338" y="1145"/>
                    </a:lnTo>
                    <a:lnTo>
                      <a:pt x="40828" y="600"/>
                    </a:lnTo>
                    <a:lnTo>
                      <a:pt x="41459" y="163"/>
                    </a:lnTo>
                    <a:lnTo>
                      <a:pt x="42054" y="0"/>
                    </a:lnTo>
                    <a:close/>
                  </a:path>
                </a:pathLst>
              </a:custGeom>
              <a:solidFill>
                <a:srgbClr val="408F7C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Tx/>
                  <a:buFontTx/>
                  <a:buNone/>
                </a:pPr>
                <a:endParaRPr sz="1350" kern="1200">
                  <a:solidFill>
                    <a:prstClr val="black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3" name="Google Shape;203;p29"/>
          <p:cNvGrpSpPr/>
          <p:nvPr/>
        </p:nvGrpSpPr>
        <p:grpSpPr>
          <a:xfrm>
            <a:off x="6518191" y="3967606"/>
            <a:ext cx="499306" cy="440621"/>
            <a:chOff x="3592513" y="1063626"/>
            <a:chExt cx="4995863" cy="4719638"/>
          </a:xfrm>
          <a:solidFill>
            <a:srgbClr val="B83B19"/>
          </a:solidFill>
        </p:grpSpPr>
        <p:sp>
          <p:nvSpPr>
            <p:cNvPr id="24" name="Google Shape;204;p29"/>
            <p:cNvSpPr/>
            <p:nvPr/>
          </p:nvSpPr>
          <p:spPr>
            <a:xfrm>
              <a:off x="3592513" y="3014663"/>
              <a:ext cx="2541588" cy="27447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119999" y="0"/>
                  </a:lnTo>
                  <a:lnTo>
                    <a:pt x="119999" y="11871"/>
                  </a:lnTo>
                  <a:lnTo>
                    <a:pt x="95085" y="11871"/>
                  </a:lnTo>
                  <a:lnTo>
                    <a:pt x="95085" y="120000"/>
                  </a:lnTo>
                  <a:lnTo>
                    <a:pt x="10227" y="120000"/>
                  </a:lnTo>
                  <a:lnTo>
                    <a:pt x="10227" y="11871"/>
                  </a:lnTo>
                  <a:lnTo>
                    <a:pt x="0" y="1187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05;p29"/>
            <p:cNvSpPr/>
            <p:nvPr/>
          </p:nvSpPr>
          <p:spPr>
            <a:xfrm>
              <a:off x="5689600" y="2193926"/>
              <a:ext cx="2449513" cy="356870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4607" y="0"/>
                  </a:moveTo>
                  <a:lnTo>
                    <a:pt x="96007" y="0"/>
                  </a:lnTo>
                  <a:lnTo>
                    <a:pt x="97524" y="106"/>
                  </a:lnTo>
                  <a:lnTo>
                    <a:pt x="98690" y="266"/>
                  </a:lnTo>
                  <a:lnTo>
                    <a:pt x="99974" y="400"/>
                  </a:lnTo>
                  <a:lnTo>
                    <a:pt x="101062" y="613"/>
                  </a:lnTo>
                  <a:lnTo>
                    <a:pt x="102034" y="774"/>
                  </a:lnTo>
                  <a:lnTo>
                    <a:pt x="102773" y="907"/>
                  </a:lnTo>
                  <a:lnTo>
                    <a:pt x="103318" y="1014"/>
                  </a:lnTo>
                  <a:lnTo>
                    <a:pt x="103512" y="1067"/>
                  </a:lnTo>
                  <a:lnTo>
                    <a:pt x="103512" y="1067"/>
                  </a:lnTo>
                  <a:lnTo>
                    <a:pt x="105767" y="1681"/>
                  </a:lnTo>
                  <a:lnTo>
                    <a:pt x="107906" y="2508"/>
                  </a:lnTo>
                  <a:lnTo>
                    <a:pt x="109967" y="3362"/>
                  </a:lnTo>
                  <a:lnTo>
                    <a:pt x="111989" y="4430"/>
                  </a:lnTo>
                  <a:lnTo>
                    <a:pt x="113856" y="5551"/>
                  </a:lnTo>
                  <a:lnTo>
                    <a:pt x="115489" y="6832"/>
                  </a:lnTo>
                  <a:lnTo>
                    <a:pt x="116966" y="8247"/>
                  </a:lnTo>
                  <a:lnTo>
                    <a:pt x="118133" y="9741"/>
                  </a:lnTo>
                  <a:lnTo>
                    <a:pt x="119105" y="11316"/>
                  </a:lnTo>
                  <a:lnTo>
                    <a:pt x="119766" y="12998"/>
                  </a:lnTo>
                  <a:lnTo>
                    <a:pt x="120000" y="14786"/>
                  </a:lnTo>
                  <a:lnTo>
                    <a:pt x="119922" y="16654"/>
                  </a:lnTo>
                  <a:lnTo>
                    <a:pt x="113311" y="57330"/>
                  </a:lnTo>
                  <a:lnTo>
                    <a:pt x="112883" y="59252"/>
                  </a:lnTo>
                  <a:lnTo>
                    <a:pt x="112145" y="60987"/>
                  </a:lnTo>
                  <a:lnTo>
                    <a:pt x="111095" y="62562"/>
                  </a:lnTo>
                  <a:lnTo>
                    <a:pt x="109850" y="63950"/>
                  </a:lnTo>
                  <a:lnTo>
                    <a:pt x="108256" y="65177"/>
                  </a:lnTo>
                  <a:lnTo>
                    <a:pt x="106429" y="66192"/>
                  </a:lnTo>
                  <a:lnTo>
                    <a:pt x="104329" y="67046"/>
                  </a:lnTo>
                  <a:lnTo>
                    <a:pt x="101957" y="67766"/>
                  </a:lnTo>
                  <a:lnTo>
                    <a:pt x="99351" y="68327"/>
                  </a:lnTo>
                  <a:lnTo>
                    <a:pt x="96552" y="68727"/>
                  </a:lnTo>
                  <a:lnTo>
                    <a:pt x="93363" y="69048"/>
                  </a:lnTo>
                  <a:lnTo>
                    <a:pt x="90019" y="69154"/>
                  </a:lnTo>
                  <a:lnTo>
                    <a:pt x="86364" y="69154"/>
                  </a:lnTo>
                  <a:lnTo>
                    <a:pt x="86364" y="69154"/>
                  </a:lnTo>
                  <a:lnTo>
                    <a:pt x="86286" y="69154"/>
                  </a:lnTo>
                  <a:lnTo>
                    <a:pt x="83020" y="69048"/>
                  </a:lnTo>
                  <a:lnTo>
                    <a:pt x="79753" y="68941"/>
                  </a:lnTo>
                  <a:lnTo>
                    <a:pt x="76409" y="68887"/>
                  </a:lnTo>
                  <a:lnTo>
                    <a:pt x="72987" y="68887"/>
                  </a:lnTo>
                  <a:lnTo>
                    <a:pt x="69721" y="68887"/>
                  </a:lnTo>
                  <a:lnTo>
                    <a:pt x="66454" y="68994"/>
                  </a:lnTo>
                  <a:lnTo>
                    <a:pt x="63344" y="69101"/>
                  </a:lnTo>
                  <a:lnTo>
                    <a:pt x="60311" y="69288"/>
                  </a:lnTo>
                  <a:lnTo>
                    <a:pt x="57472" y="69555"/>
                  </a:lnTo>
                  <a:lnTo>
                    <a:pt x="54789" y="69848"/>
                  </a:lnTo>
                  <a:lnTo>
                    <a:pt x="52339" y="70275"/>
                  </a:lnTo>
                  <a:lnTo>
                    <a:pt x="50200" y="70729"/>
                  </a:lnTo>
                  <a:lnTo>
                    <a:pt x="48334" y="71290"/>
                  </a:lnTo>
                  <a:lnTo>
                    <a:pt x="46779" y="71957"/>
                  </a:lnTo>
                  <a:lnTo>
                    <a:pt x="45612" y="72651"/>
                  </a:lnTo>
                  <a:lnTo>
                    <a:pt x="44795" y="73532"/>
                  </a:lnTo>
                  <a:lnTo>
                    <a:pt x="43979" y="74759"/>
                  </a:lnTo>
                  <a:lnTo>
                    <a:pt x="43007" y="76334"/>
                  </a:lnTo>
                  <a:lnTo>
                    <a:pt x="41957" y="78122"/>
                  </a:lnTo>
                  <a:lnTo>
                    <a:pt x="40829" y="80204"/>
                  </a:lnTo>
                  <a:lnTo>
                    <a:pt x="39585" y="82500"/>
                  </a:lnTo>
                  <a:lnTo>
                    <a:pt x="38340" y="84982"/>
                  </a:lnTo>
                  <a:lnTo>
                    <a:pt x="37057" y="87651"/>
                  </a:lnTo>
                  <a:lnTo>
                    <a:pt x="35735" y="90507"/>
                  </a:lnTo>
                  <a:lnTo>
                    <a:pt x="34296" y="93496"/>
                  </a:lnTo>
                  <a:lnTo>
                    <a:pt x="32974" y="96619"/>
                  </a:lnTo>
                  <a:lnTo>
                    <a:pt x="31574" y="99768"/>
                  </a:lnTo>
                  <a:lnTo>
                    <a:pt x="30136" y="103024"/>
                  </a:lnTo>
                  <a:lnTo>
                    <a:pt x="28813" y="106334"/>
                  </a:lnTo>
                  <a:lnTo>
                    <a:pt x="27569" y="109697"/>
                  </a:lnTo>
                  <a:lnTo>
                    <a:pt x="26286" y="113060"/>
                  </a:lnTo>
                  <a:lnTo>
                    <a:pt x="25547" y="114555"/>
                  </a:lnTo>
                  <a:lnTo>
                    <a:pt x="24419" y="115862"/>
                  </a:lnTo>
                  <a:lnTo>
                    <a:pt x="23097" y="117090"/>
                  </a:lnTo>
                  <a:lnTo>
                    <a:pt x="21464" y="118051"/>
                  </a:lnTo>
                  <a:lnTo>
                    <a:pt x="19675" y="118879"/>
                  </a:lnTo>
                  <a:lnTo>
                    <a:pt x="17692" y="119492"/>
                  </a:lnTo>
                  <a:lnTo>
                    <a:pt x="15515" y="119839"/>
                  </a:lnTo>
                  <a:lnTo>
                    <a:pt x="13376" y="120000"/>
                  </a:lnTo>
                  <a:lnTo>
                    <a:pt x="11743" y="119893"/>
                  </a:lnTo>
                  <a:lnTo>
                    <a:pt x="10110" y="119706"/>
                  </a:lnTo>
                  <a:lnTo>
                    <a:pt x="8010" y="119225"/>
                  </a:lnTo>
                  <a:lnTo>
                    <a:pt x="6182" y="118532"/>
                  </a:lnTo>
                  <a:lnTo>
                    <a:pt x="4471" y="117651"/>
                  </a:lnTo>
                  <a:lnTo>
                    <a:pt x="3033" y="116690"/>
                  </a:lnTo>
                  <a:lnTo>
                    <a:pt x="1866" y="115516"/>
                  </a:lnTo>
                  <a:lnTo>
                    <a:pt x="972" y="114234"/>
                  </a:lnTo>
                  <a:lnTo>
                    <a:pt x="311" y="112927"/>
                  </a:lnTo>
                  <a:lnTo>
                    <a:pt x="0" y="111485"/>
                  </a:lnTo>
                  <a:lnTo>
                    <a:pt x="0" y="110071"/>
                  </a:lnTo>
                  <a:lnTo>
                    <a:pt x="388" y="108576"/>
                  </a:lnTo>
                  <a:lnTo>
                    <a:pt x="972" y="107108"/>
                  </a:lnTo>
                  <a:lnTo>
                    <a:pt x="1633" y="105320"/>
                  </a:lnTo>
                  <a:lnTo>
                    <a:pt x="2372" y="103345"/>
                  </a:lnTo>
                  <a:lnTo>
                    <a:pt x="3188" y="101156"/>
                  </a:lnTo>
                  <a:lnTo>
                    <a:pt x="4160" y="98754"/>
                  </a:lnTo>
                  <a:lnTo>
                    <a:pt x="5132" y="96245"/>
                  </a:lnTo>
                  <a:lnTo>
                    <a:pt x="6182" y="93603"/>
                  </a:lnTo>
                  <a:lnTo>
                    <a:pt x="7349" y="90854"/>
                  </a:lnTo>
                  <a:lnTo>
                    <a:pt x="8476" y="88051"/>
                  </a:lnTo>
                  <a:lnTo>
                    <a:pt x="9721" y="85249"/>
                  </a:lnTo>
                  <a:lnTo>
                    <a:pt x="10926" y="82446"/>
                  </a:lnTo>
                  <a:lnTo>
                    <a:pt x="12171" y="79644"/>
                  </a:lnTo>
                  <a:lnTo>
                    <a:pt x="13454" y="76895"/>
                  </a:lnTo>
                  <a:lnTo>
                    <a:pt x="14776" y="74252"/>
                  </a:lnTo>
                  <a:lnTo>
                    <a:pt x="16059" y="71690"/>
                  </a:lnTo>
                  <a:lnTo>
                    <a:pt x="17303" y="69288"/>
                  </a:lnTo>
                  <a:lnTo>
                    <a:pt x="18587" y="67046"/>
                  </a:lnTo>
                  <a:lnTo>
                    <a:pt x="19753" y="65071"/>
                  </a:lnTo>
                  <a:lnTo>
                    <a:pt x="20959" y="63229"/>
                  </a:lnTo>
                  <a:lnTo>
                    <a:pt x="22047" y="61708"/>
                  </a:lnTo>
                  <a:lnTo>
                    <a:pt x="23175" y="60480"/>
                  </a:lnTo>
                  <a:lnTo>
                    <a:pt x="24653" y="59119"/>
                  </a:lnTo>
                  <a:lnTo>
                    <a:pt x="26597" y="57838"/>
                  </a:lnTo>
                  <a:lnTo>
                    <a:pt x="28813" y="56717"/>
                  </a:lnTo>
                  <a:lnTo>
                    <a:pt x="31419" y="55649"/>
                  </a:lnTo>
                  <a:lnTo>
                    <a:pt x="34296" y="54715"/>
                  </a:lnTo>
                  <a:lnTo>
                    <a:pt x="37563" y="53914"/>
                  </a:lnTo>
                  <a:lnTo>
                    <a:pt x="41218" y="53193"/>
                  </a:lnTo>
                  <a:lnTo>
                    <a:pt x="45145" y="52580"/>
                  </a:lnTo>
                  <a:lnTo>
                    <a:pt x="49462" y="52072"/>
                  </a:lnTo>
                  <a:lnTo>
                    <a:pt x="54128" y="51672"/>
                  </a:lnTo>
                  <a:lnTo>
                    <a:pt x="59105" y="51352"/>
                  </a:lnTo>
                  <a:lnTo>
                    <a:pt x="64471" y="51165"/>
                  </a:lnTo>
                  <a:lnTo>
                    <a:pt x="68632" y="25222"/>
                  </a:lnTo>
                  <a:lnTo>
                    <a:pt x="68710" y="24661"/>
                  </a:lnTo>
                  <a:lnTo>
                    <a:pt x="64316" y="25329"/>
                  </a:lnTo>
                  <a:lnTo>
                    <a:pt x="59844" y="25889"/>
                  </a:lnTo>
                  <a:lnTo>
                    <a:pt x="55178" y="26236"/>
                  </a:lnTo>
                  <a:lnTo>
                    <a:pt x="50356" y="26450"/>
                  </a:lnTo>
                  <a:lnTo>
                    <a:pt x="45379" y="26556"/>
                  </a:lnTo>
                  <a:lnTo>
                    <a:pt x="39662" y="26450"/>
                  </a:lnTo>
                  <a:lnTo>
                    <a:pt x="33713" y="26183"/>
                  </a:lnTo>
                  <a:lnTo>
                    <a:pt x="27647" y="25729"/>
                  </a:lnTo>
                  <a:lnTo>
                    <a:pt x="21386" y="25115"/>
                  </a:lnTo>
                  <a:lnTo>
                    <a:pt x="14931" y="24314"/>
                  </a:lnTo>
                  <a:lnTo>
                    <a:pt x="12871" y="23887"/>
                  </a:lnTo>
                  <a:lnTo>
                    <a:pt x="10926" y="23247"/>
                  </a:lnTo>
                  <a:lnTo>
                    <a:pt x="9215" y="22366"/>
                  </a:lnTo>
                  <a:lnTo>
                    <a:pt x="7815" y="21352"/>
                  </a:lnTo>
                  <a:lnTo>
                    <a:pt x="6688" y="20177"/>
                  </a:lnTo>
                  <a:lnTo>
                    <a:pt x="5871" y="18896"/>
                  </a:lnTo>
                  <a:lnTo>
                    <a:pt x="5366" y="17482"/>
                  </a:lnTo>
                  <a:lnTo>
                    <a:pt x="5210" y="16040"/>
                  </a:lnTo>
                  <a:lnTo>
                    <a:pt x="5443" y="14572"/>
                  </a:lnTo>
                  <a:lnTo>
                    <a:pt x="6027" y="13158"/>
                  </a:lnTo>
                  <a:lnTo>
                    <a:pt x="6999" y="11823"/>
                  </a:lnTo>
                  <a:lnTo>
                    <a:pt x="8243" y="10649"/>
                  </a:lnTo>
                  <a:lnTo>
                    <a:pt x="9721" y="9688"/>
                  </a:lnTo>
                  <a:lnTo>
                    <a:pt x="11432" y="8914"/>
                  </a:lnTo>
                  <a:lnTo>
                    <a:pt x="13298" y="8300"/>
                  </a:lnTo>
                  <a:lnTo>
                    <a:pt x="15359" y="8007"/>
                  </a:lnTo>
                  <a:lnTo>
                    <a:pt x="17459" y="7900"/>
                  </a:lnTo>
                  <a:lnTo>
                    <a:pt x="19598" y="8060"/>
                  </a:lnTo>
                  <a:lnTo>
                    <a:pt x="26014" y="8807"/>
                  </a:lnTo>
                  <a:lnTo>
                    <a:pt x="32080" y="9421"/>
                  </a:lnTo>
                  <a:lnTo>
                    <a:pt x="37952" y="9795"/>
                  </a:lnTo>
                  <a:lnTo>
                    <a:pt x="43512" y="9928"/>
                  </a:lnTo>
                  <a:lnTo>
                    <a:pt x="48801" y="9928"/>
                  </a:lnTo>
                  <a:lnTo>
                    <a:pt x="53778" y="9688"/>
                  </a:lnTo>
                  <a:lnTo>
                    <a:pt x="58522" y="9288"/>
                  </a:lnTo>
                  <a:lnTo>
                    <a:pt x="62994" y="8620"/>
                  </a:lnTo>
                  <a:lnTo>
                    <a:pt x="67154" y="7793"/>
                  </a:lnTo>
                  <a:lnTo>
                    <a:pt x="71004" y="6779"/>
                  </a:lnTo>
                  <a:lnTo>
                    <a:pt x="74543" y="5498"/>
                  </a:lnTo>
                  <a:lnTo>
                    <a:pt x="77887" y="4083"/>
                  </a:lnTo>
                  <a:lnTo>
                    <a:pt x="78042" y="3976"/>
                  </a:lnTo>
                  <a:lnTo>
                    <a:pt x="78509" y="3763"/>
                  </a:lnTo>
                  <a:lnTo>
                    <a:pt x="79248" y="3469"/>
                  </a:lnTo>
                  <a:lnTo>
                    <a:pt x="80298" y="3069"/>
                  </a:lnTo>
                  <a:lnTo>
                    <a:pt x="81464" y="2588"/>
                  </a:lnTo>
                  <a:lnTo>
                    <a:pt x="82864" y="2081"/>
                  </a:lnTo>
                  <a:lnTo>
                    <a:pt x="84419" y="1574"/>
                  </a:lnTo>
                  <a:lnTo>
                    <a:pt x="86053" y="1120"/>
                  </a:lnTo>
                  <a:lnTo>
                    <a:pt x="87841" y="720"/>
                  </a:lnTo>
                  <a:lnTo>
                    <a:pt x="89708" y="400"/>
                  </a:lnTo>
                  <a:lnTo>
                    <a:pt x="91574" y="213"/>
                  </a:lnTo>
                  <a:lnTo>
                    <a:pt x="91808" y="160"/>
                  </a:lnTo>
                  <a:lnTo>
                    <a:pt x="92469" y="106"/>
                  </a:lnTo>
                  <a:lnTo>
                    <a:pt x="93441" y="53"/>
                  </a:lnTo>
                  <a:lnTo>
                    <a:pt x="946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06;p29"/>
            <p:cNvSpPr/>
            <p:nvPr/>
          </p:nvSpPr>
          <p:spPr>
            <a:xfrm>
              <a:off x="7062788" y="1063626"/>
              <a:ext cx="1103313" cy="11033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59956" y="0"/>
                  </a:moveTo>
                  <a:lnTo>
                    <a:pt x="67375" y="517"/>
                  </a:lnTo>
                  <a:lnTo>
                    <a:pt x="74622" y="1812"/>
                  </a:lnTo>
                  <a:lnTo>
                    <a:pt x="81610" y="3971"/>
                  </a:lnTo>
                  <a:lnTo>
                    <a:pt x="88166" y="6906"/>
                  </a:lnTo>
                  <a:lnTo>
                    <a:pt x="94291" y="10705"/>
                  </a:lnTo>
                  <a:lnTo>
                    <a:pt x="99726" y="15194"/>
                  </a:lnTo>
                  <a:lnTo>
                    <a:pt x="104816" y="20115"/>
                  </a:lnTo>
                  <a:lnTo>
                    <a:pt x="109130" y="25726"/>
                  </a:lnTo>
                  <a:lnTo>
                    <a:pt x="112839" y="31769"/>
                  </a:lnTo>
                  <a:lnTo>
                    <a:pt x="115859" y="38244"/>
                  </a:lnTo>
                  <a:lnTo>
                    <a:pt x="118015" y="45151"/>
                  </a:lnTo>
                  <a:lnTo>
                    <a:pt x="119482" y="52402"/>
                  </a:lnTo>
                  <a:lnTo>
                    <a:pt x="120000" y="60000"/>
                  </a:lnTo>
                  <a:lnTo>
                    <a:pt x="119482" y="67424"/>
                  </a:lnTo>
                  <a:lnTo>
                    <a:pt x="118015" y="74676"/>
                  </a:lnTo>
                  <a:lnTo>
                    <a:pt x="115859" y="81582"/>
                  </a:lnTo>
                  <a:lnTo>
                    <a:pt x="112839" y="88143"/>
                  </a:lnTo>
                  <a:lnTo>
                    <a:pt x="109130" y="94273"/>
                  </a:lnTo>
                  <a:lnTo>
                    <a:pt x="104816" y="99712"/>
                  </a:lnTo>
                  <a:lnTo>
                    <a:pt x="99726" y="104805"/>
                  </a:lnTo>
                  <a:lnTo>
                    <a:pt x="94291" y="109122"/>
                  </a:lnTo>
                  <a:lnTo>
                    <a:pt x="88166" y="112920"/>
                  </a:lnTo>
                  <a:lnTo>
                    <a:pt x="81610" y="115856"/>
                  </a:lnTo>
                  <a:lnTo>
                    <a:pt x="74622" y="118014"/>
                  </a:lnTo>
                  <a:lnTo>
                    <a:pt x="67375" y="119482"/>
                  </a:lnTo>
                  <a:lnTo>
                    <a:pt x="59956" y="120000"/>
                  </a:lnTo>
                  <a:lnTo>
                    <a:pt x="52451" y="119482"/>
                  </a:lnTo>
                  <a:lnTo>
                    <a:pt x="45204" y="118014"/>
                  </a:lnTo>
                  <a:lnTo>
                    <a:pt x="38217" y="115856"/>
                  </a:lnTo>
                  <a:lnTo>
                    <a:pt x="31833" y="112920"/>
                  </a:lnTo>
                  <a:lnTo>
                    <a:pt x="25708" y="109122"/>
                  </a:lnTo>
                  <a:lnTo>
                    <a:pt x="20100" y="104805"/>
                  </a:lnTo>
                  <a:lnTo>
                    <a:pt x="15183" y="99712"/>
                  </a:lnTo>
                  <a:lnTo>
                    <a:pt x="10697" y="94273"/>
                  </a:lnTo>
                  <a:lnTo>
                    <a:pt x="6987" y="88143"/>
                  </a:lnTo>
                  <a:lnTo>
                    <a:pt x="3968" y="81582"/>
                  </a:lnTo>
                  <a:lnTo>
                    <a:pt x="1811" y="74676"/>
                  </a:lnTo>
                  <a:lnTo>
                    <a:pt x="517" y="67424"/>
                  </a:lnTo>
                  <a:lnTo>
                    <a:pt x="0" y="60000"/>
                  </a:lnTo>
                  <a:lnTo>
                    <a:pt x="517" y="52402"/>
                  </a:lnTo>
                  <a:lnTo>
                    <a:pt x="1811" y="45151"/>
                  </a:lnTo>
                  <a:lnTo>
                    <a:pt x="3968" y="38244"/>
                  </a:lnTo>
                  <a:lnTo>
                    <a:pt x="6987" y="31769"/>
                  </a:lnTo>
                  <a:lnTo>
                    <a:pt x="10697" y="25726"/>
                  </a:lnTo>
                  <a:lnTo>
                    <a:pt x="15183" y="20115"/>
                  </a:lnTo>
                  <a:lnTo>
                    <a:pt x="20100" y="15194"/>
                  </a:lnTo>
                  <a:lnTo>
                    <a:pt x="25708" y="10705"/>
                  </a:lnTo>
                  <a:lnTo>
                    <a:pt x="31833" y="6906"/>
                  </a:lnTo>
                  <a:lnTo>
                    <a:pt x="38217" y="3971"/>
                  </a:lnTo>
                  <a:lnTo>
                    <a:pt x="45204" y="1812"/>
                  </a:lnTo>
                  <a:lnTo>
                    <a:pt x="52451" y="517"/>
                  </a:lnTo>
                  <a:lnTo>
                    <a:pt x="599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07;p29"/>
            <p:cNvSpPr/>
            <p:nvPr/>
          </p:nvSpPr>
          <p:spPr>
            <a:xfrm>
              <a:off x="7011988" y="2746376"/>
              <a:ext cx="1576388" cy="30368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95589" y="0"/>
                  </a:moveTo>
                  <a:lnTo>
                    <a:pt x="118549" y="0"/>
                  </a:lnTo>
                  <a:lnTo>
                    <a:pt x="118851" y="0"/>
                  </a:lnTo>
                  <a:lnTo>
                    <a:pt x="119214" y="62"/>
                  </a:lnTo>
                  <a:lnTo>
                    <a:pt x="119577" y="250"/>
                  </a:lnTo>
                  <a:lnTo>
                    <a:pt x="119818" y="344"/>
                  </a:lnTo>
                  <a:lnTo>
                    <a:pt x="119879" y="595"/>
                  </a:lnTo>
                  <a:lnTo>
                    <a:pt x="120000" y="783"/>
                  </a:lnTo>
                  <a:lnTo>
                    <a:pt x="114380" y="38307"/>
                  </a:lnTo>
                  <a:lnTo>
                    <a:pt x="113897" y="40877"/>
                  </a:lnTo>
                  <a:lnTo>
                    <a:pt x="113353" y="43448"/>
                  </a:lnTo>
                  <a:lnTo>
                    <a:pt x="112628" y="45956"/>
                  </a:lnTo>
                  <a:lnTo>
                    <a:pt x="111842" y="48526"/>
                  </a:lnTo>
                  <a:lnTo>
                    <a:pt x="110876" y="51034"/>
                  </a:lnTo>
                  <a:lnTo>
                    <a:pt x="109728" y="53448"/>
                  </a:lnTo>
                  <a:lnTo>
                    <a:pt x="108459" y="55830"/>
                  </a:lnTo>
                  <a:lnTo>
                    <a:pt x="107069" y="58181"/>
                  </a:lnTo>
                  <a:lnTo>
                    <a:pt x="105498" y="60376"/>
                  </a:lnTo>
                  <a:lnTo>
                    <a:pt x="103625" y="62539"/>
                  </a:lnTo>
                  <a:lnTo>
                    <a:pt x="101570" y="64576"/>
                  </a:lnTo>
                  <a:lnTo>
                    <a:pt x="99395" y="66426"/>
                  </a:lnTo>
                  <a:lnTo>
                    <a:pt x="96858" y="68150"/>
                  </a:lnTo>
                  <a:lnTo>
                    <a:pt x="93957" y="69780"/>
                  </a:lnTo>
                  <a:lnTo>
                    <a:pt x="90936" y="71222"/>
                  </a:lnTo>
                  <a:lnTo>
                    <a:pt x="87492" y="72476"/>
                  </a:lnTo>
                  <a:lnTo>
                    <a:pt x="83806" y="73542"/>
                  </a:lnTo>
                  <a:lnTo>
                    <a:pt x="79879" y="74451"/>
                  </a:lnTo>
                  <a:lnTo>
                    <a:pt x="75468" y="75109"/>
                  </a:lnTo>
                  <a:lnTo>
                    <a:pt x="70755" y="75517"/>
                  </a:lnTo>
                  <a:lnTo>
                    <a:pt x="65679" y="75768"/>
                  </a:lnTo>
                  <a:lnTo>
                    <a:pt x="65679" y="103824"/>
                  </a:lnTo>
                  <a:lnTo>
                    <a:pt x="77462" y="103824"/>
                  </a:lnTo>
                  <a:lnTo>
                    <a:pt x="81570" y="104012"/>
                  </a:lnTo>
                  <a:lnTo>
                    <a:pt x="85619" y="104482"/>
                  </a:lnTo>
                  <a:lnTo>
                    <a:pt x="89305" y="105266"/>
                  </a:lnTo>
                  <a:lnTo>
                    <a:pt x="92930" y="106332"/>
                  </a:lnTo>
                  <a:lnTo>
                    <a:pt x="96012" y="107648"/>
                  </a:lnTo>
                  <a:lnTo>
                    <a:pt x="98912" y="109153"/>
                  </a:lnTo>
                  <a:lnTo>
                    <a:pt x="101329" y="110909"/>
                  </a:lnTo>
                  <a:lnTo>
                    <a:pt x="103262" y="112758"/>
                  </a:lnTo>
                  <a:lnTo>
                    <a:pt x="104773" y="114796"/>
                  </a:lnTo>
                  <a:lnTo>
                    <a:pt x="105740" y="116927"/>
                  </a:lnTo>
                  <a:lnTo>
                    <a:pt x="105921" y="119216"/>
                  </a:lnTo>
                  <a:lnTo>
                    <a:pt x="105921" y="119467"/>
                  </a:lnTo>
                  <a:lnTo>
                    <a:pt x="105740" y="119623"/>
                  </a:lnTo>
                  <a:lnTo>
                    <a:pt x="105377" y="119811"/>
                  </a:lnTo>
                  <a:lnTo>
                    <a:pt x="104894" y="119937"/>
                  </a:lnTo>
                  <a:lnTo>
                    <a:pt x="104471" y="120000"/>
                  </a:lnTo>
                  <a:lnTo>
                    <a:pt x="89546" y="120000"/>
                  </a:lnTo>
                  <a:lnTo>
                    <a:pt x="89123" y="119937"/>
                  </a:lnTo>
                  <a:lnTo>
                    <a:pt x="88640" y="119811"/>
                  </a:lnTo>
                  <a:lnTo>
                    <a:pt x="88277" y="119623"/>
                  </a:lnTo>
                  <a:lnTo>
                    <a:pt x="88157" y="119467"/>
                  </a:lnTo>
                  <a:lnTo>
                    <a:pt x="88036" y="119216"/>
                  </a:lnTo>
                  <a:lnTo>
                    <a:pt x="87734" y="117899"/>
                  </a:lnTo>
                  <a:lnTo>
                    <a:pt x="86888" y="116708"/>
                  </a:lnTo>
                  <a:lnTo>
                    <a:pt x="85619" y="115673"/>
                  </a:lnTo>
                  <a:lnTo>
                    <a:pt x="84048" y="114796"/>
                  </a:lnTo>
                  <a:lnTo>
                    <a:pt x="82054" y="114137"/>
                  </a:lnTo>
                  <a:lnTo>
                    <a:pt x="79879" y="113699"/>
                  </a:lnTo>
                  <a:lnTo>
                    <a:pt x="77462" y="113542"/>
                  </a:lnTo>
                  <a:lnTo>
                    <a:pt x="28519" y="113542"/>
                  </a:lnTo>
                  <a:lnTo>
                    <a:pt x="26102" y="113699"/>
                  </a:lnTo>
                  <a:lnTo>
                    <a:pt x="23927" y="114137"/>
                  </a:lnTo>
                  <a:lnTo>
                    <a:pt x="21933" y="114796"/>
                  </a:lnTo>
                  <a:lnTo>
                    <a:pt x="20181" y="115673"/>
                  </a:lnTo>
                  <a:lnTo>
                    <a:pt x="18912" y="116708"/>
                  </a:lnTo>
                  <a:lnTo>
                    <a:pt x="18126" y="117899"/>
                  </a:lnTo>
                  <a:lnTo>
                    <a:pt x="17885" y="119216"/>
                  </a:lnTo>
                  <a:lnTo>
                    <a:pt x="17764" y="119467"/>
                  </a:lnTo>
                  <a:lnTo>
                    <a:pt x="17583" y="119623"/>
                  </a:lnTo>
                  <a:lnTo>
                    <a:pt x="17220" y="119811"/>
                  </a:lnTo>
                  <a:lnTo>
                    <a:pt x="16858" y="119937"/>
                  </a:lnTo>
                  <a:lnTo>
                    <a:pt x="16374" y="120000"/>
                  </a:lnTo>
                  <a:lnTo>
                    <a:pt x="1510" y="120000"/>
                  </a:lnTo>
                  <a:lnTo>
                    <a:pt x="1027" y="119937"/>
                  </a:lnTo>
                  <a:lnTo>
                    <a:pt x="604" y="119811"/>
                  </a:lnTo>
                  <a:lnTo>
                    <a:pt x="241" y="119623"/>
                  </a:lnTo>
                  <a:lnTo>
                    <a:pt x="0" y="119467"/>
                  </a:lnTo>
                  <a:lnTo>
                    <a:pt x="0" y="119216"/>
                  </a:lnTo>
                  <a:lnTo>
                    <a:pt x="241" y="116927"/>
                  </a:lnTo>
                  <a:lnTo>
                    <a:pt x="1148" y="114796"/>
                  </a:lnTo>
                  <a:lnTo>
                    <a:pt x="2658" y="112758"/>
                  </a:lnTo>
                  <a:lnTo>
                    <a:pt x="4652" y="110909"/>
                  </a:lnTo>
                  <a:lnTo>
                    <a:pt x="7069" y="109153"/>
                  </a:lnTo>
                  <a:lnTo>
                    <a:pt x="9969" y="107648"/>
                  </a:lnTo>
                  <a:lnTo>
                    <a:pt x="13051" y="106332"/>
                  </a:lnTo>
                  <a:lnTo>
                    <a:pt x="16616" y="105266"/>
                  </a:lnTo>
                  <a:lnTo>
                    <a:pt x="20302" y="104482"/>
                  </a:lnTo>
                  <a:lnTo>
                    <a:pt x="24350" y="104012"/>
                  </a:lnTo>
                  <a:lnTo>
                    <a:pt x="28519" y="103824"/>
                  </a:lnTo>
                  <a:lnTo>
                    <a:pt x="40302" y="103824"/>
                  </a:lnTo>
                  <a:lnTo>
                    <a:pt x="40302" y="77147"/>
                  </a:lnTo>
                  <a:lnTo>
                    <a:pt x="2658" y="77147"/>
                  </a:lnTo>
                  <a:lnTo>
                    <a:pt x="2235" y="77147"/>
                  </a:lnTo>
                  <a:lnTo>
                    <a:pt x="1752" y="77021"/>
                  </a:lnTo>
                  <a:lnTo>
                    <a:pt x="1510" y="76833"/>
                  </a:lnTo>
                  <a:lnTo>
                    <a:pt x="1268" y="76677"/>
                  </a:lnTo>
                  <a:lnTo>
                    <a:pt x="1148" y="76363"/>
                  </a:lnTo>
                  <a:lnTo>
                    <a:pt x="1148" y="64827"/>
                  </a:lnTo>
                  <a:lnTo>
                    <a:pt x="1148" y="64576"/>
                  </a:lnTo>
                  <a:lnTo>
                    <a:pt x="1389" y="64388"/>
                  </a:lnTo>
                  <a:lnTo>
                    <a:pt x="1631" y="64200"/>
                  </a:lnTo>
                  <a:lnTo>
                    <a:pt x="1993" y="64106"/>
                  </a:lnTo>
                  <a:lnTo>
                    <a:pt x="2296" y="64043"/>
                  </a:lnTo>
                  <a:lnTo>
                    <a:pt x="2658" y="63981"/>
                  </a:lnTo>
                  <a:lnTo>
                    <a:pt x="3141" y="63981"/>
                  </a:lnTo>
                  <a:lnTo>
                    <a:pt x="4290" y="64043"/>
                  </a:lnTo>
                  <a:lnTo>
                    <a:pt x="6042" y="64043"/>
                  </a:lnTo>
                  <a:lnTo>
                    <a:pt x="8459" y="64043"/>
                  </a:lnTo>
                  <a:lnTo>
                    <a:pt x="11238" y="64043"/>
                  </a:lnTo>
                  <a:lnTo>
                    <a:pt x="14441" y="64043"/>
                  </a:lnTo>
                  <a:lnTo>
                    <a:pt x="17764" y="64043"/>
                  </a:lnTo>
                  <a:lnTo>
                    <a:pt x="21389" y="64043"/>
                  </a:lnTo>
                  <a:lnTo>
                    <a:pt x="25075" y="64043"/>
                  </a:lnTo>
                  <a:lnTo>
                    <a:pt x="28640" y="64043"/>
                  </a:lnTo>
                  <a:lnTo>
                    <a:pt x="31963" y="64043"/>
                  </a:lnTo>
                  <a:lnTo>
                    <a:pt x="35226" y="64043"/>
                  </a:lnTo>
                  <a:lnTo>
                    <a:pt x="38066" y="64043"/>
                  </a:lnTo>
                  <a:lnTo>
                    <a:pt x="40543" y="64043"/>
                  </a:lnTo>
                  <a:lnTo>
                    <a:pt x="42356" y="64043"/>
                  </a:lnTo>
                  <a:lnTo>
                    <a:pt x="43625" y="64043"/>
                  </a:lnTo>
                  <a:lnTo>
                    <a:pt x="44108" y="64043"/>
                  </a:lnTo>
                  <a:lnTo>
                    <a:pt x="49546" y="63981"/>
                  </a:lnTo>
                  <a:lnTo>
                    <a:pt x="54501" y="63605"/>
                  </a:lnTo>
                  <a:lnTo>
                    <a:pt x="58972" y="63134"/>
                  </a:lnTo>
                  <a:lnTo>
                    <a:pt x="63141" y="62476"/>
                  </a:lnTo>
                  <a:lnTo>
                    <a:pt x="66827" y="61630"/>
                  </a:lnTo>
                  <a:lnTo>
                    <a:pt x="70151" y="60689"/>
                  </a:lnTo>
                  <a:lnTo>
                    <a:pt x="73172" y="59561"/>
                  </a:lnTo>
                  <a:lnTo>
                    <a:pt x="75830" y="58275"/>
                  </a:lnTo>
                  <a:lnTo>
                    <a:pt x="78247" y="56959"/>
                  </a:lnTo>
                  <a:lnTo>
                    <a:pt x="80241" y="55485"/>
                  </a:lnTo>
                  <a:lnTo>
                    <a:pt x="82054" y="53918"/>
                  </a:lnTo>
                  <a:lnTo>
                    <a:pt x="83564" y="52319"/>
                  </a:lnTo>
                  <a:lnTo>
                    <a:pt x="84833" y="50626"/>
                  </a:lnTo>
                  <a:lnTo>
                    <a:pt x="85981" y="48965"/>
                  </a:lnTo>
                  <a:lnTo>
                    <a:pt x="86767" y="47147"/>
                  </a:lnTo>
                  <a:lnTo>
                    <a:pt x="87492" y="45360"/>
                  </a:lnTo>
                  <a:lnTo>
                    <a:pt x="88036" y="43573"/>
                  </a:lnTo>
                  <a:lnTo>
                    <a:pt x="88398" y="41786"/>
                  </a:lnTo>
                  <a:lnTo>
                    <a:pt x="88640" y="40031"/>
                  </a:lnTo>
                  <a:lnTo>
                    <a:pt x="88882" y="38244"/>
                  </a:lnTo>
                  <a:lnTo>
                    <a:pt x="94078" y="721"/>
                  </a:lnTo>
                  <a:lnTo>
                    <a:pt x="94078" y="470"/>
                  </a:lnTo>
                  <a:lnTo>
                    <a:pt x="94320" y="313"/>
                  </a:lnTo>
                  <a:lnTo>
                    <a:pt x="94622" y="125"/>
                  </a:lnTo>
                  <a:lnTo>
                    <a:pt x="95105" y="0"/>
                  </a:lnTo>
                  <a:lnTo>
                    <a:pt x="9558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08;p29"/>
            <p:cNvSpPr/>
            <p:nvPr/>
          </p:nvSpPr>
          <p:spPr>
            <a:xfrm>
              <a:off x="4214813" y="1558926"/>
              <a:ext cx="1460500" cy="1370013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5073" y="0"/>
                  </a:moveTo>
                  <a:lnTo>
                    <a:pt x="15464" y="0"/>
                  </a:lnTo>
                  <a:lnTo>
                    <a:pt x="15791" y="278"/>
                  </a:lnTo>
                  <a:lnTo>
                    <a:pt x="16052" y="556"/>
                  </a:lnTo>
                  <a:lnTo>
                    <a:pt x="16182" y="973"/>
                  </a:lnTo>
                  <a:lnTo>
                    <a:pt x="42088" y="102062"/>
                  </a:lnTo>
                  <a:lnTo>
                    <a:pt x="118760" y="102062"/>
                  </a:lnTo>
                  <a:lnTo>
                    <a:pt x="119151" y="102201"/>
                  </a:lnTo>
                  <a:lnTo>
                    <a:pt x="119477" y="102340"/>
                  </a:lnTo>
                  <a:lnTo>
                    <a:pt x="119738" y="102757"/>
                  </a:lnTo>
                  <a:lnTo>
                    <a:pt x="119869" y="103035"/>
                  </a:lnTo>
                  <a:lnTo>
                    <a:pt x="120000" y="103383"/>
                  </a:lnTo>
                  <a:lnTo>
                    <a:pt x="120000" y="118679"/>
                  </a:lnTo>
                  <a:lnTo>
                    <a:pt x="119869" y="119235"/>
                  </a:lnTo>
                  <a:lnTo>
                    <a:pt x="119738" y="119443"/>
                  </a:lnTo>
                  <a:lnTo>
                    <a:pt x="119477" y="119721"/>
                  </a:lnTo>
                  <a:lnTo>
                    <a:pt x="119151" y="120000"/>
                  </a:lnTo>
                  <a:lnTo>
                    <a:pt x="118760" y="120000"/>
                  </a:lnTo>
                  <a:lnTo>
                    <a:pt x="30277" y="120000"/>
                  </a:lnTo>
                  <a:lnTo>
                    <a:pt x="29755" y="120000"/>
                  </a:lnTo>
                  <a:lnTo>
                    <a:pt x="29559" y="119721"/>
                  </a:lnTo>
                  <a:lnTo>
                    <a:pt x="29168" y="119443"/>
                  </a:lnTo>
                  <a:lnTo>
                    <a:pt x="29037" y="119096"/>
                  </a:lnTo>
                  <a:lnTo>
                    <a:pt x="0" y="5701"/>
                  </a:lnTo>
                  <a:lnTo>
                    <a:pt x="0" y="5353"/>
                  </a:lnTo>
                  <a:lnTo>
                    <a:pt x="0" y="5075"/>
                  </a:lnTo>
                  <a:lnTo>
                    <a:pt x="130" y="4658"/>
                  </a:lnTo>
                  <a:lnTo>
                    <a:pt x="261" y="4380"/>
                  </a:lnTo>
                  <a:lnTo>
                    <a:pt x="652" y="4101"/>
                  </a:lnTo>
                  <a:lnTo>
                    <a:pt x="848" y="3962"/>
                  </a:lnTo>
                  <a:lnTo>
                    <a:pt x="14681" y="0"/>
                  </a:lnTo>
                  <a:lnTo>
                    <a:pt x="1507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" name="Rectangle 28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sp>
        <p:nvSpPr>
          <p:cNvPr id="30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33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sp>
        <p:nvSpPr>
          <p:cNvPr id="31" name="Google Shape;59;p14"/>
          <p:cNvSpPr txBox="1">
            <a:spLocks/>
          </p:cNvSpPr>
          <p:nvPr/>
        </p:nvSpPr>
        <p:spPr>
          <a:xfrm>
            <a:off x="1798913" y="1026229"/>
            <a:ext cx="554617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2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TTENDED VS ATTENED ROBOTS</a:t>
            </a:r>
          </a:p>
        </p:txBody>
      </p:sp>
      <p:sp>
        <p:nvSpPr>
          <p:cNvPr id="34" name="Google Shape;59;p14"/>
          <p:cNvSpPr txBox="1">
            <a:spLocks/>
          </p:cNvSpPr>
          <p:nvPr/>
        </p:nvSpPr>
        <p:spPr>
          <a:xfrm>
            <a:off x="-124359" y="2164724"/>
            <a:ext cx="1891926" cy="791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TTENDEDROBOT</a:t>
            </a:r>
          </a:p>
        </p:txBody>
      </p:sp>
      <p:sp>
        <p:nvSpPr>
          <p:cNvPr id="35" name="Google Shape;59;p14"/>
          <p:cNvSpPr txBox="1">
            <a:spLocks/>
          </p:cNvSpPr>
          <p:nvPr/>
        </p:nvSpPr>
        <p:spPr>
          <a:xfrm>
            <a:off x="7383142" y="3792040"/>
            <a:ext cx="1791206" cy="791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DED</a:t>
            </a:r>
          </a:p>
          <a:p>
            <a:pPr>
              <a:buClr>
                <a:prstClr val="black"/>
              </a:buClr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T</a:t>
            </a:r>
          </a:p>
        </p:txBody>
      </p:sp>
      <p:sp>
        <p:nvSpPr>
          <p:cNvPr id="36" name="Google Shape;59;p14"/>
          <p:cNvSpPr txBox="1">
            <a:spLocks/>
          </p:cNvSpPr>
          <p:nvPr/>
        </p:nvSpPr>
        <p:spPr>
          <a:xfrm>
            <a:off x="3166160" y="2105736"/>
            <a:ext cx="5546175" cy="803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buClr>
                <a:prstClr val="black"/>
              </a:buClr>
            </a:pPr>
            <a:r>
              <a:rPr lang="en-US" sz="1800" b="1" kern="1200" spc="225" dirty="0" smtClean="0">
                <a:solidFill>
                  <a:srgbClr val="408F7C"/>
                </a:solidFill>
                <a:latin typeface="Arial" panose="020B0604020202020204" pitchFamily="34" charset="0"/>
                <a:ea typeface="Montserrat" charset="0"/>
                <a:cs typeface="Arial" panose="020B0604020202020204" pitchFamily="34" charset="0"/>
              </a:rPr>
              <a:t>Recommended </a:t>
            </a:r>
            <a:r>
              <a:rPr lang="en-US" sz="1800" b="1" kern="1200" spc="225" dirty="0">
                <a:solidFill>
                  <a:srgbClr val="408F7C"/>
                </a:solidFill>
                <a:latin typeface="Arial" panose="020B0604020202020204" pitchFamily="34" charset="0"/>
                <a:ea typeface="Montserrat" charset="0"/>
                <a:cs typeface="Arial" panose="020B0604020202020204" pitchFamily="34" charset="0"/>
              </a:rPr>
              <a:t>for </a:t>
            </a:r>
            <a:r>
              <a:rPr lang="en-US" sz="1800" b="1" kern="1200" spc="225" dirty="0" smtClean="0">
                <a:solidFill>
                  <a:srgbClr val="408F7C"/>
                </a:solidFill>
                <a:latin typeface="Arial" panose="020B0604020202020204" pitchFamily="34" charset="0"/>
                <a:ea typeface="Montserrat" charset="0"/>
                <a:cs typeface="Arial" panose="020B0604020202020204" pitchFamily="34" charset="0"/>
              </a:rPr>
              <a:t>a process that can run continuously without any intervention.</a:t>
            </a:r>
            <a:endParaRPr lang="en-US" sz="1800" b="1" dirty="0">
              <a:solidFill>
                <a:srgbClr val="408F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Google Shape;59;p14"/>
          <p:cNvSpPr txBox="1">
            <a:spLocks/>
          </p:cNvSpPr>
          <p:nvPr/>
        </p:nvSpPr>
        <p:spPr>
          <a:xfrm>
            <a:off x="329345" y="3534964"/>
            <a:ext cx="5546175" cy="1190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buClr>
                <a:prstClr val="black"/>
              </a:buClr>
            </a:pPr>
            <a:r>
              <a:rPr lang="en-US" sz="1800" b="1" kern="1200" spc="225" dirty="0">
                <a:solidFill>
                  <a:srgbClr val="B83B19"/>
                </a:solidFill>
                <a:latin typeface="Montserrat" charset="0"/>
                <a:ea typeface="Montserrat" charset="0"/>
                <a:cs typeface="Montserrat" charset="0"/>
              </a:rPr>
              <a:t>Highly suggested for processes that needs Manual intervention after an automation</a:t>
            </a:r>
            <a:endParaRPr lang="en-US" sz="1800" b="1" dirty="0">
              <a:solidFill>
                <a:srgbClr val="B83B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76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28"/>
          <p:cNvSpPr/>
          <p:nvPr/>
        </p:nvSpPr>
        <p:spPr>
          <a:xfrm>
            <a:off x="0" y="3224152"/>
            <a:ext cx="9144000" cy="1919349"/>
          </a:xfrm>
          <a:prstGeom prst="rect">
            <a:avLst/>
          </a:prstGeom>
          <a:gradFill>
            <a:gsLst>
              <a:gs pos="0">
                <a:srgbClr val="E8A729"/>
              </a:gs>
              <a:gs pos="23000">
                <a:srgbClr val="E8A729"/>
              </a:gs>
              <a:gs pos="69000">
                <a:srgbClr val="D19115"/>
              </a:gs>
              <a:gs pos="97000">
                <a:srgbClr val="C38714"/>
              </a:gs>
              <a:gs pos="100000">
                <a:srgbClr val="C38714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08" name="Google Shape;137;p21"/>
          <p:cNvGrpSpPr/>
          <p:nvPr/>
        </p:nvGrpSpPr>
        <p:grpSpPr>
          <a:xfrm>
            <a:off x="7519302" y="2217141"/>
            <a:ext cx="1497807" cy="1556147"/>
            <a:chOff x="8685213" y="1268413"/>
            <a:chExt cx="1997076" cy="2074862"/>
          </a:xfrm>
        </p:grpSpPr>
        <p:sp>
          <p:nvSpPr>
            <p:cNvPr id="109" name="Google Shape;138;p21"/>
            <p:cNvSpPr/>
            <p:nvPr/>
          </p:nvSpPr>
          <p:spPr>
            <a:xfrm>
              <a:off x="8685213" y="1268413"/>
              <a:ext cx="1498600" cy="1555750"/>
            </a:xfrm>
            <a:custGeom>
              <a:avLst/>
              <a:gdLst/>
              <a:ahLst/>
              <a:cxnLst/>
              <a:rect l="l" t="t" r="r" b="b"/>
              <a:pathLst>
                <a:path w="2832" h="2941" extrusionOk="0">
                  <a:moveTo>
                    <a:pt x="1416" y="734"/>
                  </a:moveTo>
                  <a:lnTo>
                    <a:pt x="1341" y="738"/>
                  </a:lnTo>
                  <a:lnTo>
                    <a:pt x="1270" y="750"/>
                  </a:lnTo>
                  <a:lnTo>
                    <a:pt x="1201" y="766"/>
                  </a:lnTo>
                  <a:lnTo>
                    <a:pt x="1136" y="791"/>
                  </a:lnTo>
                  <a:lnTo>
                    <a:pt x="1074" y="821"/>
                  </a:lnTo>
                  <a:lnTo>
                    <a:pt x="1015" y="857"/>
                  </a:lnTo>
                  <a:lnTo>
                    <a:pt x="961" y="899"/>
                  </a:lnTo>
                  <a:lnTo>
                    <a:pt x="911" y="946"/>
                  </a:lnTo>
                  <a:lnTo>
                    <a:pt x="866" y="998"/>
                  </a:lnTo>
                  <a:lnTo>
                    <a:pt x="826" y="1055"/>
                  </a:lnTo>
                  <a:lnTo>
                    <a:pt x="791" y="1115"/>
                  </a:lnTo>
                  <a:lnTo>
                    <a:pt x="762" y="1180"/>
                  </a:lnTo>
                  <a:lnTo>
                    <a:pt x="738" y="1247"/>
                  </a:lnTo>
                  <a:lnTo>
                    <a:pt x="721" y="1319"/>
                  </a:lnTo>
                  <a:lnTo>
                    <a:pt x="711" y="1394"/>
                  </a:lnTo>
                  <a:lnTo>
                    <a:pt x="707" y="1471"/>
                  </a:lnTo>
                  <a:lnTo>
                    <a:pt x="711" y="1547"/>
                  </a:lnTo>
                  <a:lnTo>
                    <a:pt x="721" y="1622"/>
                  </a:lnTo>
                  <a:lnTo>
                    <a:pt x="738" y="1693"/>
                  </a:lnTo>
                  <a:lnTo>
                    <a:pt x="762" y="1761"/>
                  </a:lnTo>
                  <a:lnTo>
                    <a:pt x="791" y="1826"/>
                  </a:lnTo>
                  <a:lnTo>
                    <a:pt x="826" y="1885"/>
                  </a:lnTo>
                  <a:lnTo>
                    <a:pt x="866" y="1943"/>
                  </a:lnTo>
                  <a:lnTo>
                    <a:pt x="911" y="1994"/>
                  </a:lnTo>
                  <a:lnTo>
                    <a:pt x="961" y="2041"/>
                  </a:lnTo>
                  <a:lnTo>
                    <a:pt x="1015" y="2082"/>
                  </a:lnTo>
                  <a:lnTo>
                    <a:pt x="1074" y="2118"/>
                  </a:lnTo>
                  <a:lnTo>
                    <a:pt x="1136" y="2149"/>
                  </a:lnTo>
                  <a:lnTo>
                    <a:pt x="1201" y="2173"/>
                  </a:lnTo>
                  <a:lnTo>
                    <a:pt x="1270" y="2191"/>
                  </a:lnTo>
                  <a:lnTo>
                    <a:pt x="1341" y="2201"/>
                  </a:lnTo>
                  <a:lnTo>
                    <a:pt x="1416" y="2205"/>
                  </a:lnTo>
                  <a:lnTo>
                    <a:pt x="1490" y="2201"/>
                  </a:lnTo>
                  <a:lnTo>
                    <a:pt x="1562" y="2191"/>
                  </a:lnTo>
                  <a:lnTo>
                    <a:pt x="1630" y="2173"/>
                  </a:lnTo>
                  <a:lnTo>
                    <a:pt x="1696" y="2149"/>
                  </a:lnTo>
                  <a:lnTo>
                    <a:pt x="1758" y="2118"/>
                  </a:lnTo>
                  <a:lnTo>
                    <a:pt x="1816" y="2082"/>
                  </a:lnTo>
                  <a:lnTo>
                    <a:pt x="1869" y="2041"/>
                  </a:lnTo>
                  <a:lnTo>
                    <a:pt x="1920" y="1994"/>
                  </a:lnTo>
                  <a:lnTo>
                    <a:pt x="1965" y="1943"/>
                  </a:lnTo>
                  <a:lnTo>
                    <a:pt x="2005" y="1885"/>
                  </a:lnTo>
                  <a:lnTo>
                    <a:pt x="2040" y="1826"/>
                  </a:lnTo>
                  <a:lnTo>
                    <a:pt x="2068" y="1761"/>
                  </a:lnTo>
                  <a:lnTo>
                    <a:pt x="2092" y="1693"/>
                  </a:lnTo>
                  <a:lnTo>
                    <a:pt x="2110" y="1622"/>
                  </a:lnTo>
                  <a:lnTo>
                    <a:pt x="2120" y="1547"/>
                  </a:lnTo>
                  <a:lnTo>
                    <a:pt x="2123" y="1471"/>
                  </a:lnTo>
                  <a:lnTo>
                    <a:pt x="2120" y="1394"/>
                  </a:lnTo>
                  <a:lnTo>
                    <a:pt x="2110" y="1319"/>
                  </a:lnTo>
                  <a:lnTo>
                    <a:pt x="2092" y="1247"/>
                  </a:lnTo>
                  <a:lnTo>
                    <a:pt x="2068" y="1180"/>
                  </a:lnTo>
                  <a:lnTo>
                    <a:pt x="2040" y="1115"/>
                  </a:lnTo>
                  <a:lnTo>
                    <a:pt x="2005" y="1055"/>
                  </a:lnTo>
                  <a:lnTo>
                    <a:pt x="1965" y="998"/>
                  </a:lnTo>
                  <a:lnTo>
                    <a:pt x="1920" y="946"/>
                  </a:lnTo>
                  <a:lnTo>
                    <a:pt x="1869" y="899"/>
                  </a:lnTo>
                  <a:lnTo>
                    <a:pt x="1816" y="857"/>
                  </a:lnTo>
                  <a:lnTo>
                    <a:pt x="1758" y="821"/>
                  </a:lnTo>
                  <a:lnTo>
                    <a:pt x="1696" y="791"/>
                  </a:lnTo>
                  <a:lnTo>
                    <a:pt x="1630" y="766"/>
                  </a:lnTo>
                  <a:lnTo>
                    <a:pt x="1562" y="750"/>
                  </a:lnTo>
                  <a:lnTo>
                    <a:pt x="1490" y="738"/>
                  </a:lnTo>
                  <a:lnTo>
                    <a:pt x="1416" y="734"/>
                  </a:lnTo>
                  <a:close/>
                  <a:moveTo>
                    <a:pt x="1180" y="0"/>
                  </a:moveTo>
                  <a:lnTo>
                    <a:pt x="1652" y="0"/>
                  </a:lnTo>
                  <a:lnTo>
                    <a:pt x="1747" y="295"/>
                  </a:lnTo>
                  <a:lnTo>
                    <a:pt x="1813" y="313"/>
                  </a:lnTo>
                  <a:lnTo>
                    <a:pt x="1872" y="334"/>
                  </a:lnTo>
                  <a:lnTo>
                    <a:pt x="1928" y="360"/>
                  </a:lnTo>
                  <a:lnTo>
                    <a:pt x="1982" y="392"/>
                  </a:lnTo>
                  <a:lnTo>
                    <a:pt x="2242" y="269"/>
                  </a:lnTo>
                  <a:lnTo>
                    <a:pt x="2595" y="588"/>
                  </a:lnTo>
                  <a:lnTo>
                    <a:pt x="2454" y="882"/>
                  </a:lnTo>
                  <a:lnTo>
                    <a:pt x="2475" y="921"/>
                  </a:lnTo>
                  <a:lnTo>
                    <a:pt x="2494" y="963"/>
                  </a:lnTo>
                  <a:lnTo>
                    <a:pt x="2510" y="1004"/>
                  </a:lnTo>
                  <a:lnTo>
                    <a:pt x="2524" y="1047"/>
                  </a:lnTo>
                  <a:lnTo>
                    <a:pt x="2536" y="1089"/>
                  </a:lnTo>
                  <a:lnTo>
                    <a:pt x="2549" y="1128"/>
                  </a:lnTo>
                  <a:lnTo>
                    <a:pt x="2832" y="1225"/>
                  </a:lnTo>
                  <a:lnTo>
                    <a:pt x="2832" y="1716"/>
                  </a:lnTo>
                  <a:lnTo>
                    <a:pt x="2549" y="1814"/>
                  </a:lnTo>
                  <a:lnTo>
                    <a:pt x="2530" y="1883"/>
                  </a:lnTo>
                  <a:lnTo>
                    <a:pt x="2510" y="1945"/>
                  </a:lnTo>
                  <a:lnTo>
                    <a:pt x="2485" y="2002"/>
                  </a:lnTo>
                  <a:lnTo>
                    <a:pt x="2454" y="2058"/>
                  </a:lnTo>
                  <a:lnTo>
                    <a:pt x="2595" y="2352"/>
                  </a:lnTo>
                  <a:lnTo>
                    <a:pt x="2265" y="2696"/>
                  </a:lnTo>
                  <a:lnTo>
                    <a:pt x="1982" y="2548"/>
                  </a:lnTo>
                  <a:lnTo>
                    <a:pt x="1945" y="2571"/>
                  </a:lnTo>
                  <a:lnTo>
                    <a:pt x="1904" y="2590"/>
                  </a:lnTo>
                  <a:lnTo>
                    <a:pt x="1864" y="2607"/>
                  </a:lnTo>
                  <a:lnTo>
                    <a:pt x="1823" y="2621"/>
                  </a:lnTo>
                  <a:lnTo>
                    <a:pt x="1783" y="2634"/>
                  </a:lnTo>
                  <a:lnTo>
                    <a:pt x="1747" y="2647"/>
                  </a:lnTo>
                  <a:lnTo>
                    <a:pt x="1652" y="2941"/>
                  </a:lnTo>
                  <a:lnTo>
                    <a:pt x="1180" y="2941"/>
                  </a:lnTo>
                  <a:lnTo>
                    <a:pt x="1110" y="2622"/>
                  </a:lnTo>
                  <a:lnTo>
                    <a:pt x="1042" y="2603"/>
                  </a:lnTo>
                  <a:lnTo>
                    <a:pt x="982" y="2582"/>
                  </a:lnTo>
                  <a:lnTo>
                    <a:pt x="926" y="2556"/>
                  </a:lnTo>
                  <a:lnTo>
                    <a:pt x="873" y="2523"/>
                  </a:lnTo>
                  <a:lnTo>
                    <a:pt x="589" y="2670"/>
                  </a:lnTo>
                  <a:lnTo>
                    <a:pt x="259" y="2328"/>
                  </a:lnTo>
                  <a:lnTo>
                    <a:pt x="378" y="2058"/>
                  </a:lnTo>
                  <a:lnTo>
                    <a:pt x="355" y="2019"/>
                  </a:lnTo>
                  <a:lnTo>
                    <a:pt x="338" y="1979"/>
                  </a:lnTo>
                  <a:lnTo>
                    <a:pt x="322" y="1936"/>
                  </a:lnTo>
                  <a:lnTo>
                    <a:pt x="308" y="1893"/>
                  </a:lnTo>
                  <a:lnTo>
                    <a:pt x="295" y="1853"/>
                  </a:lnTo>
                  <a:lnTo>
                    <a:pt x="283" y="1814"/>
                  </a:lnTo>
                  <a:lnTo>
                    <a:pt x="0" y="1716"/>
                  </a:lnTo>
                  <a:lnTo>
                    <a:pt x="0" y="1225"/>
                  </a:lnTo>
                  <a:lnTo>
                    <a:pt x="307" y="1152"/>
                  </a:lnTo>
                  <a:lnTo>
                    <a:pt x="324" y="1082"/>
                  </a:lnTo>
                  <a:lnTo>
                    <a:pt x="345" y="1020"/>
                  </a:lnTo>
                  <a:lnTo>
                    <a:pt x="369" y="963"/>
                  </a:lnTo>
                  <a:lnTo>
                    <a:pt x="400" y="907"/>
                  </a:lnTo>
                  <a:lnTo>
                    <a:pt x="259" y="613"/>
                  </a:lnTo>
                  <a:lnTo>
                    <a:pt x="589" y="269"/>
                  </a:lnTo>
                  <a:lnTo>
                    <a:pt x="848" y="392"/>
                  </a:lnTo>
                  <a:lnTo>
                    <a:pt x="886" y="370"/>
                  </a:lnTo>
                  <a:lnTo>
                    <a:pt x="926" y="351"/>
                  </a:lnTo>
                  <a:lnTo>
                    <a:pt x="967" y="334"/>
                  </a:lnTo>
                  <a:lnTo>
                    <a:pt x="1009" y="319"/>
                  </a:lnTo>
                  <a:lnTo>
                    <a:pt x="1049" y="306"/>
                  </a:lnTo>
                  <a:lnTo>
                    <a:pt x="1085" y="295"/>
                  </a:lnTo>
                  <a:lnTo>
                    <a:pt x="118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39;p21"/>
            <p:cNvSpPr/>
            <p:nvPr/>
          </p:nvSpPr>
          <p:spPr>
            <a:xfrm>
              <a:off x="9247188" y="1852613"/>
              <a:ext cx="374650" cy="387350"/>
            </a:xfrm>
            <a:custGeom>
              <a:avLst/>
              <a:gdLst/>
              <a:ahLst/>
              <a:cxnLst/>
              <a:rect l="l" t="t" r="r" b="b"/>
              <a:pathLst>
                <a:path w="707" h="734" extrusionOk="0">
                  <a:moveTo>
                    <a:pt x="354" y="0"/>
                  </a:moveTo>
                  <a:lnTo>
                    <a:pt x="406" y="4"/>
                  </a:lnTo>
                  <a:lnTo>
                    <a:pt x="456" y="16"/>
                  </a:lnTo>
                  <a:lnTo>
                    <a:pt x="502" y="34"/>
                  </a:lnTo>
                  <a:lnTo>
                    <a:pt x="546" y="60"/>
                  </a:lnTo>
                  <a:lnTo>
                    <a:pt x="586" y="90"/>
                  </a:lnTo>
                  <a:lnTo>
                    <a:pt x="621" y="126"/>
                  </a:lnTo>
                  <a:lnTo>
                    <a:pt x="650" y="168"/>
                  </a:lnTo>
                  <a:lnTo>
                    <a:pt x="675" y="212"/>
                  </a:lnTo>
                  <a:lnTo>
                    <a:pt x="692" y="261"/>
                  </a:lnTo>
                  <a:lnTo>
                    <a:pt x="704" y="313"/>
                  </a:lnTo>
                  <a:lnTo>
                    <a:pt x="707" y="368"/>
                  </a:lnTo>
                  <a:lnTo>
                    <a:pt x="704" y="421"/>
                  </a:lnTo>
                  <a:lnTo>
                    <a:pt x="692" y="473"/>
                  </a:lnTo>
                  <a:lnTo>
                    <a:pt x="675" y="522"/>
                  </a:lnTo>
                  <a:lnTo>
                    <a:pt x="650" y="567"/>
                  </a:lnTo>
                  <a:lnTo>
                    <a:pt x="621" y="608"/>
                  </a:lnTo>
                  <a:lnTo>
                    <a:pt x="586" y="645"/>
                  </a:lnTo>
                  <a:lnTo>
                    <a:pt x="546" y="676"/>
                  </a:lnTo>
                  <a:lnTo>
                    <a:pt x="502" y="700"/>
                  </a:lnTo>
                  <a:lnTo>
                    <a:pt x="456" y="719"/>
                  </a:lnTo>
                  <a:lnTo>
                    <a:pt x="406" y="730"/>
                  </a:lnTo>
                  <a:lnTo>
                    <a:pt x="354" y="734"/>
                  </a:lnTo>
                  <a:lnTo>
                    <a:pt x="302" y="730"/>
                  </a:lnTo>
                  <a:lnTo>
                    <a:pt x="252" y="719"/>
                  </a:lnTo>
                  <a:lnTo>
                    <a:pt x="204" y="700"/>
                  </a:lnTo>
                  <a:lnTo>
                    <a:pt x="161" y="676"/>
                  </a:lnTo>
                  <a:lnTo>
                    <a:pt x="122" y="645"/>
                  </a:lnTo>
                  <a:lnTo>
                    <a:pt x="87" y="608"/>
                  </a:lnTo>
                  <a:lnTo>
                    <a:pt x="57" y="567"/>
                  </a:lnTo>
                  <a:lnTo>
                    <a:pt x="33" y="522"/>
                  </a:lnTo>
                  <a:lnTo>
                    <a:pt x="15" y="473"/>
                  </a:lnTo>
                  <a:lnTo>
                    <a:pt x="4" y="421"/>
                  </a:lnTo>
                  <a:lnTo>
                    <a:pt x="0" y="368"/>
                  </a:lnTo>
                  <a:lnTo>
                    <a:pt x="4" y="313"/>
                  </a:lnTo>
                  <a:lnTo>
                    <a:pt x="15" y="261"/>
                  </a:lnTo>
                  <a:lnTo>
                    <a:pt x="33" y="212"/>
                  </a:lnTo>
                  <a:lnTo>
                    <a:pt x="57" y="168"/>
                  </a:lnTo>
                  <a:lnTo>
                    <a:pt x="87" y="126"/>
                  </a:lnTo>
                  <a:lnTo>
                    <a:pt x="122" y="90"/>
                  </a:lnTo>
                  <a:lnTo>
                    <a:pt x="161" y="60"/>
                  </a:lnTo>
                  <a:lnTo>
                    <a:pt x="204" y="34"/>
                  </a:lnTo>
                  <a:lnTo>
                    <a:pt x="252" y="16"/>
                  </a:lnTo>
                  <a:lnTo>
                    <a:pt x="302" y="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40;p21"/>
            <p:cNvSpPr/>
            <p:nvPr/>
          </p:nvSpPr>
          <p:spPr>
            <a:xfrm>
              <a:off x="10058401" y="1268413"/>
              <a:ext cx="623888" cy="647700"/>
            </a:xfrm>
            <a:custGeom>
              <a:avLst/>
              <a:gdLst/>
              <a:ahLst/>
              <a:cxnLst/>
              <a:rect l="l" t="t" r="r" b="b"/>
              <a:pathLst>
                <a:path w="1180" h="1225" extrusionOk="0">
                  <a:moveTo>
                    <a:pt x="591" y="368"/>
                  </a:moveTo>
                  <a:lnTo>
                    <a:pt x="550" y="370"/>
                  </a:lnTo>
                  <a:lnTo>
                    <a:pt x="512" y="379"/>
                  </a:lnTo>
                  <a:lnTo>
                    <a:pt x="477" y="392"/>
                  </a:lnTo>
                  <a:lnTo>
                    <a:pt x="446" y="412"/>
                  </a:lnTo>
                  <a:lnTo>
                    <a:pt x="419" y="435"/>
                  </a:lnTo>
                  <a:lnTo>
                    <a:pt x="397" y="462"/>
                  </a:lnTo>
                  <a:lnTo>
                    <a:pt x="378" y="495"/>
                  </a:lnTo>
                  <a:lnTo>
                    <a:pt x="366" y="530"/>
                  </a:lnTo>
                  <a:lnTo>
                    <a:pt x="357" y="570"/>
                  </a:lnTo>
                  <a:lnTo>
                    <a:pt x="354" y="613"/>
                  </a:lnTo>
                  <a:lnTo>
                    <a:pt x="357" y="655"/>
                  </a:lnTo>
                  <a:lnTo>
                    <a:pt x="366" y="695"/>
                  </a:lnTo>
                  <a:lnTo>
                    <a:pt x="378" y="730"/>
                  </a:lnTo>
                  <a:lnTo>
                    <a:pt x="397" y="763"/>
                  </a:lnTo>
                  <a:lnTo>
                    <a:pt x="419" y="790"/>
                  </a:lnTo>
                  <a:lnTo>
                    <a:pt x="446" y="815"/>
                  </a:lnTo>
                  <a:lnTo>
                    <a:pt x="477" y="833"/>
                  </a:lnTo>
                  <a:lnTo>
                    <a:pt x="512" y="847"/>
                  </a:lnTo>
                  <a:lnTo>
                    <a:pt x="550" y="855"/>
                  </a:lnTo>
                  <a:lnTo>
                    <a:pt x="591" y="857"/>
                  </a:lnTo>
                  <a:lnTo>
                    <a:pt x="632" y="855"/>
                  </a:lnTo>
                  <a:lnTo>
                    <a:pt x="670" y="847"/>
                  </a:lnTo>
                  <a:lnTo>
                    <a:pt x="703" y="833"/>
                  </a:lnTo>
                  <a:lnTo>
                    <a:pt x="735" y="815"/>
                  </a:lnTo>
                  <a:lnTo>
                    <a:pt x="762" y="790"/>
                  </a:lnTo>
                  <a:lnTo>
                    <a:pt x="785" y="763"/>
                  </a:lnTo>
                  <a:lnTo>
                    <a:pt x="802" y="730"/>
                  </a:lnTo>
                  <a:lnTo>
                    <a:pt x="816" y="695"/>
                  </a:lnTo>
                  <a:lnTo>
                    <a:pt x="824" y="655"/>
                  </a:lnTo>
                  <a:lnTo>
                    <a:pt x="827" y="613"/>
                  </a:lnTo>
                  <a:lnTo>
                    <a:pt x="824" y="570"/>
                  </a:lnTo>
                  <a:lnTo>
                    <a:pt x="816" y="530"/>
                  </a:lnTo>
                  <a:lnTo>
                    <a:pt x="802" y="495"/>
                  </a:lnTo>
                  <a:lnTo>
                    <a:pt x="785" y="462"/>
                  </a:lnTo>
                  <a:lnTo>
                    <a:pt x="762" y="435"/>
                  </a:lnTo>
                  <a:lnTo>
                    <a:pt x="735" y="412"/>
                  </a:lnTo>
                  <a:lnTo>
                    <a:pt x="703" y="392"/>
                  </a:lnTo>
                  <a:lnTo>
                    <a:pt x="670" y="379"/>
                  </a:lnTo>
                  <a:lnTo>
                    <a:pt x="632" y="370"/>
                  </a:lnTo>
                  <a:lnTo>
                    <a:pt x="591" y="368"/>
                  </a:lnTo>
                  <a:close/>
                  <a:moveTo>
                    <a:pt x="472" y="0"/>
                  </a:moveTo>
                  <a:lnTo>
                    <a:pt x="708" y="0"/>
                  </a:lnTo>
                  <a:lnTo>
                    <a:pt x="708" y="147"/>
                  </a:lnTo>
                  <a:lnTo>
                    <a:pt x="730" y="149"/>
                  </a:lnTo>
                  <a:lnTo>
                    <a:pt x="750" y="154"/>
                  </a:lnTo>
                  <a:lnTo>
                    <a:pt x="767" y="162"/>
                  </a:lnTo>
                  <a:lnTo>
                    <a:pt x="786" y="173"/>
                  </a:lnTo>
                  <a:lnTo>
                    <a:pt x="805" y="184"/>
                  </a:lnTo>
                  <a:lnTo>
                    <a:pt x="827" y="196"/>
                  </a:lnTo>
                  <a:lnTo>
                    <a:pt x="921" y="99"/>
                  </a:lnTo>
                  <a:lnTo>
                    <a:pt x="1086" y="269"/>
                  </a:lnTo>
                  <a:lnTo>
                    <a:pt x="991" y="368"/>
                  </a:lnTo>
                  <a:lnTo>
                    <a:pt x="1009" y="390"/>
                  </a:lnTo>
                  <a:lnTo>
                    <a:pt x="1024" y="420"/>
                  </a:lnTo>
                  <a:lnTo>
                    <a:pt x="1035" y="455"/>
                  </a:lnTo>
                  <a:lnTo>
                    <a:pt x="1039" y="491"/>
                  </a:lnTo>
                  <a:lnTo>
                    <a:pt x="1180" y="491"/>
                  </a:lnTo>
                  <a:lnTo>
                    <a:pt x="1180" y="734"/>
                  </a:lnTo>
                  <a:lnTo>
                    <a:pt x="1039" y="734"/>
                  </a:lnTo>
                  <a:lnTo>
                    <a:pt x="1036" y="757"/>
                  </a:lnTo>
                  <a:lnTo>
                    <a:pt x="1031" y="777"/>
                  </a:lnTo>
                  <a:lnTo>
                    <a:pt x="1024" y="796"/>
                  </a:lnTo>
                  <a:lnTo>
                    <a:pt x="1014" y="815"/>
                  </a:lnTo>
                  <a:lnTo>
                    <a:pt x="1003" y="835"/>
                  </a:lnTo>
                  <a:lnTo>
                    <a:pt x="991" y="857"/>
                  </a:lnTo>
                  <a:lnTo>
                    <a:pt x="1086" y="956"/>
                  </a:lnTo>
                  <a:lnTo>
                    <a:pt x="921" y="1128"/>
                  </a:lnTo>
                  <a:lnTo>
                    <a:pt x="827" y="1029"/>
                  </a:lnTo>
                  <a:lnTo>
                    <a:pt x="805" y="1047"/>
                  </a:lnTo>
                  <a:lnTo>
                    <a:pt x="776" y="1063"/>
                  </a:lnTo>
                  <a:lnTo>
                    <a:pt x="743" y="1074"/>
                  </a:lnTo>
                  <a:lnTo>
                    <a:pt x="708" y="1078"/>
                  </a:lnTo>
                  <a:lnTo>
                    <a:pt x="708" y="1225"/>
                  </a:lnTo>
                  <a:lnTo>
                    <a:pt x="472" y="1225"/>
                  </a:lnTo>
                  <a:lnTo>
                    <a:pt x="472" y="1078"/>
                  </a:lnTo>
                  <a:lnTo>
                    <a:pt x="449" y="1076"/>
                  </a:lnTo>
                  <a:lnTo>
                    <a:pt x="431" y="1071"/>
                  </a:lnTo>
                  <a:lnTo>
                    <a:pt x="413" y="1063"/>
                  </a:lnTo>
                  <a:lnTo>
                    <a:pt x="396" y="1052"/>
                  </a:lnTo>
                  <a:lnTo>
                    <a:pt x="376" y="1041"/>
                  </a:lnTo>
                  <a:lnTo>
                    <a:pt x="354" y="1029"/>
                  </a:lnTo>
                  <a:lnTo>
                    <a:pt x="260" y="1128"/>
                  </a:lnTo>
                  <a:lnTo>
                    <a:pt x="95" y="956"/>
                  </a:lnTo>
                  <a:lnTo>
                    <a:pt x="189" y="857"/>
                  </a:lnTo>
                  <a:lnTo>
                    <a:pt x="172" y="835"/>
                  </a:lnTo>
                  <a:lnTo>
                    <a:pt x="157" y="805"/>
                  </a:lnTo>
                  <a:lnTo>
                    <a:pt x="147" y="772"/>
                  </a:lnTo>
                  <a:lnTo>
                    <a:pt x="143" y="734"/>
                  </a:lnTo>
                  <a:lnTo>
                    <a:pt x="0" y="734"/>
                  </a:lnTo>
                  <a:lnTo>
                    <a:pt x="0" y="491"/>
                  </a:lnTo>
                  <a:lnTo>
                    <a:pt x="143" y="491"/>
                  </a:lnTo>
                  <a:lnTo>
                    <a:pt x="144" y="468"/>
                  </a:lnTo>
                  <a:lnTo>
                    <a:pt x="149" y="448"/>
                  </a:lnTo>
                  <a:lnTo>
                    <a:pt x="157" y="429"/>
                  </a:lnTo>
                  <a:lnTo>
                    <a:pt x="167" y="410"/>
                  </a:lnTo>
                  <a:lnTo>
                    <a:pt x="178" y="390"/>
                  </a:lnTo>
                  <a:lnTo>
                    <a:pt x="189" y="368"/>
                  </a:lnTo>
                  <a:lnTo>
                    <a:pt x="95" y="269"/>
                  </a:lnTo>
                  <a:lnTo>
                    <a:pt x="260" y="99"/>
                  </a:lnTo>
                  <a:lnTo>
                    <a:pt x="354" y="196"/>
                  </a:lnTo>
                  <a:lnTo>
                    <a:pt x="376" y="178"/>
                  </a:lnTo>
                  <a:lnTo>
                    <a:pt x="404" y="162"/>
                  </a:lnTo>
                  <a:lnTo>
                    <a:pt x="437" y="151"/>
                  </a:lnTo>
                  <a:lnTo>
                    <a:pt x="472" y="147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141;p21"/>
            <p:cNvSpPr/>
            <p:nvPr/>
          </p:nvSpPr>
          <p:spPr>
            <a:xfrm>
              <a:off x="9809163" y="2435225"/>
              <a:ext cx="873125" cy="908050"/>
            </a:xfrm>
            <a:custGeom>
              <a:avLst/>
              <a:gdLst/>
              <a:ahLst/>
              <a:cxnLst/>
              <a:rect l="l" t="t" r="r" b="b"/>
              <a:pathLst>
                <a:path w="1652" h="1717" extrusionOk="0">
                  <a:moveTo>
                    <a:pt x="826" y="491"/>
                  </a:moveTo>
                  <a:lnTo>
                    <a:pt x="775" y="495"/>
                  </a:lnTo>
                  <a:lnTo>
                    <a:pt x="726" y="507"/>
                  </a:lnTo>
                  <a:lnTo>
                    <a:pt x="680" y="526"/>
                  </a:lnTo>
                  <a:lnTo>
                    <a:pt x="636" y="551"/>
                  </a:lnTo>
                  <a:lnTo>
                    <a:pt x="597" y="583"/>
                  </a:lnTo>
                  <a:lnTo>
                    <a:pt x="561" y="620"/>
                  </a:lnTo>
                  <a:lnTo>
                    <a:pt x="531" y="661"/>
                  </a:lnTo>
                  <a:lnTo>
                    <a:pt x="506" y="706"/>
                  </a:lnTo>
                  <a:lnTo>
                    <a:pt x="488" y="754"/>
                  </a:lnTo>
                  <a:lnTo>
                    <a:pt x="477" y="806"/>
                  </a:lnTo>
                  <a:lnTo>
                    <a:pt x="472" y="858"/>
                  </a:lnTo>
                  <a:lnTo>
                    <a:pt x="477" y="911"/>
                  </a:lnTo>
                  <a:lnTo>
                    <a:pt x="488" y="962"/>
                  </a:lnTo>
                  <a:lnTo>
                    <a:pt x="506" y="1010"/>
                  </a:lnTo>
                  <a:lnTo>
                    <a:pt x="531" y="1055"/>
                  </a:lnTo>
                  <a:lnTo>
                    <a:pt x="561" y="1097"/>
                  </a:lnTo>
                  <a:lnTo>
                    <a:pt x="597" y="1133"/>
                  </a:lnTo>
                  <a:lnTo>
                    <a:pt x="636" y="1164"/>
                  </a:lnTo>
                  <a:lnTo>
                    <a:pt x="680" y="1190"/>
                  </a:lnTo>
                  <a:lnTo>
                    <a:pt x="726" y="1210"/>
                  </a:lnTo>
                  <a:lnTo>
                    <a:pt x="775" y="1222"/>
                  </a:lnTo>
                  <a:lnTo>
                    <a:pt x="826" y="1225"/>
                  </a:lnTo>
                  <a:lnTo>
                    <a:pt x="878" y="1222"/>
                  </a:lnTo>
                  <a:lnTo>
                    <a:pt x="926" y="1210"/>
                  </a:lnTo>
                  <a:lnTo>
                    <a:pt x="973" y="1190"/>
                  </a:lnTo>
                  <a:lnTo>
                    <a:pt x="1017" y="1164"/>
                  </a:lnTo>
                  <a:lnTo>
                    <a:pt x="1055" y="1133"/>
                  </a:lnTo>
                  <a:lnTo>
                    <a:pt x="1092" y="1097"/>
                  </a:lnTo>
                  <a:lnTo>
                    <a:pt x="1122" y="1055"/>
                  </a:lnTo>
                  <a:lnTo>
                    <a:pt x="1147" y="1010"/>
                  </a:lnTo>
                  <a:lnTo>
                    <a:pt x="1164" y="962"/>
                  </a:lnTo>
                  <a:lnTo>
                    <a:pt x="1175" y="911"/>
                  </a:lnTo>
                  <a:lnTo>
                    <a:pt x="1180" y="858"/>
                  </a:lnTo>
                  <a:lnTo>
                    <a:pt x="1175" y="806"/>
                  </a:lnTo>
                  <a:lnTo>
                    <a:pt x="1164" y="754"/>
                  </a:lnTo>
                  <a:lnTo>
                    <a:pt x="1147" y="706"/>
                  </a:lnTo>
                  <a:lnTo>
                    <a:pt x="1122" y="661"/>
                  </a:lnTo>
                  <a:lnTo>
                    <a:pt x="1092" y="620"/>
                  </a:lnTo>
                  <a:lnTo>
                    <a:pt x="1055" y="583"/>
                  </a:lnTo>
                  <a:lnTo>
                    <a:pt x="1017" y="551"/>
                  </a:lnTo>
                  <a:lnTo>
                    <a:pt x="973" y="526"/>
                  </a:lnTo>
                  <a:lnTo>
                    <a:pt x="926" y="507"/>
                  </a:lnTo>
                  <a:lnTo>
                    <a:pt x="878" y="495"/>
                  </a:lnTo>
                  <a:lnTo>
                    <a:pt x="826" y="491"/>
                  </a:lnTo>
                  <a:close/>
                  <a:moveTo>
                    <a:pt x="709" y="0"/>
                  </a:moveTo>
                  <a:lnTo>
                    <a:pt x="944" y="0"/>
                  </a:lnTo>
                  <a:lnTo>
                    <a:pt x="991" y="147"/>
                  </a:lnTo>
                  <a:lnTo>
                    <a:pt x="1044" y="166"/>
                  </a:lnTo>
                  <a:lnTo>
                    <a:pt x="1098" y="187"/>
                  </a:lnTo>
                  <a:lnTo>
                    <a:pt x="1150" y="213"/>
                  </a:lnTo>
                  <a:lnTo>
                    <a:pt x="1204" y="246"/>
                  </a:lnTo>
                  <a:lnTo>
                    <a:pt x="1322" y="147"/>
                  </a:lnTo>
                  <a:lnTo>
                    <a:pt x="1487" y="318"/>
                  </a:lnTo>
                  <a:lnTo>
                    <a:pt x="1416" y="465"/>
                  </a:lnTo>
                  <a:lnTo>
                    <a:pt x="1447" y="521"/>
                  </a:lnTo>
                  <a:lnTo>
                    <a:pt x="1472" y="576"/>
                  </a:lnTo>
                  <a:lnTo>
                    <a:pt x="1492" y="632"/>
                  </a:lnTo>
                  <a:lnTo>
                    <a:pt x="1511" y="687"/>
                  </a:lnTo>
                  <a:lnTo>
                    <a:pt x="1652" y="736"/>
                  </a:lnTo>
                  <a:lnTo>
                    <a:pt x="1652" y="980"/>
                  </a:lnTo>
                  <a:lnTo>
                    <a:pt x="1511" y="1029"/>
                  </a:lnTo>
                  <a:lnTo>
                    <a:pt x="1492" y="1085"/>
                  </a:lnTo>
                  <a:lnTo>
                    <a:pt x="1472" y="1140"/>
                  </a:lnTo>
                  <a:lnTo>
                    <a:pt x="1447" y="1196"/>
                  </a:lnTo>
                  <a:lnTo>
                    <a:pt x="1416" y="1250"/>
                  </a:lnTo>
                  <a:lnTo>
                    <a:pt x="1511" y="1372"/>
                  </a:lnTo>
                  <a:lnTo>
                    <a:pt x="1346" y="1544"/>
                  </a:lnTo>
                  <a:lnTo>
                    <a:pt x="1204" y="1471"/>
                  </a:lnTo>
                  <a:lnTo>
                    <a:pt x="1150" y="1504"/>
                  </a:lnTo>
                  <a:lnTo>
                    <a:pt x="1098" y="1528"/>
                  </a:lnTo>
                  <a:lnTo>
                    <a:pt x="1044" y="1550"/>
                  </a:lnTo>
                  <a:lnTo>
                    <a:pt x="991" y="1568"/>
                  </a:lnTo>
                  <a:lnTo>
                    <a:pt x="944" y="1717"/>
                  </a:lnTo>
                  <a:lnTo>
                    <a:pt x="709" y="1717"/>
                  </a:lnTo>
                  <a:lnTo>
                    <a:pt x="685" y="1593"/>
                  </a:lnTo>
                  <a:lnTo>
                    <a:pt x="631" y="1574"/>
                  </a:lnTo>
                  <a:lnTo>
                    <a:pt x="579" y="1553"/>
                  </a:lnTo>
                  <a:lnTo>
                    <a:pt x="526" y="1527"/>
                  </a:lnTo>
                  <a:lnTo>
                    <a:pt x="472" y="1494"/>
                  </a:lnTo>
                  <a:lnTo>
                    <a:pt x="331" y="1568"/>
                  </a:lnTo>
                  <a:lnTo>
                    <a:pt x="166" y="1398"/>
                  </a:lnTo>
                  <a:lnTo>
                    <a:pt x="237" y="1250"/>
                  </a:lnTo>
                  <a:lnTo>
                    <a:pt x="206" y="1196"/>
                  </a:lnTo>
                  <a:lnTo>
                    <a:pt x="181" y="1140"/>
                  </a:lnTo>
                  <a:lnTo>
                    <a:pt x="161" y="1085"/>
                  </a:lnTo>
                  <a:lnTo>
                    <a:pt x="142" y="1029"/>
                  </a:lnTo>
                  <a:lnTo>
                    <a:pt x="0" y="980"/>
                  </a:lnTo>
                  <a:lnTo>
                    <a:pt x="0" y="736"/>
                  </a:lnTo>
                  <a:lnTo>
                    <a:pt x="119" y="711"/>
                  </a:lnTo>
                  <a:lnTo>
                    <a:pt x="137" y="656"/>
                  </a:lnTo>
                  <a:lnTo>
                    <a:pt x="157" y="600"/>
                  </a:lnTo>
                  <a:lnTo>
                    <a:pt x="182" y="546"/>
                  </a:lnTo>
                  <a:lnTo>
                    <a:pt x="213" y="491"/>
                  </a:lnTo>
                  <a:lnTo>
                    <a:pt x="142" y="343"/>
                  </a:lnTo>
                  <a:lnTo>
                    <a:pt x="307" y="173"/>
                  </a:lnTo>
                  <a:lnTo>
                    <a:pt x="448" y="246"/>
                  </a:lnTo>
                  <a:lnTo>
                    <a:pt x="502" y="213"/>
                  </a:lnTo>
                  <a:lnTo>
                    <a:pt x="555" y="187"/>
                  </a:lnTo>
                  <a:lnTo>
                    <a:pt x="609" y="166"/>
                  </a:lnTo>
                  <a:lnTo>
                    <a:pt x="661" y="147"/>
                  </a:lnTo>
                  <a:lnTo>
                    <a:pt x="709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Tx/>
                <a:buFontTx/>
                <a:buNone/>
              </a:pPr>
              <a:endParaRPr sz="1800" kern="12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8" name="Google Shape;218;p28"/>
          <p:cNvSpPr/>
          <p:nvPr/>
        </p:nvSpPr>
        <p:spPr>
          <a:xfrm>
            <a:off x="820511" y="3939236"/>
            <a:ext cx="2645228" cy="1033153"/>
          </a:xfrm>
          <a:prstGeom prst="homePlate">
            <a:avLst>
              <a:gd name="adj" fmla="val 50000"/>
            </a:avLst>
          </a:prstGeom>
          <a:solidFill>
            <a:srgbClr val="FBEFD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Development</a:t>
            </a:r>
          </a:p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Testing</a:t>
            </a:r>
          </a:p>
          <a:p>
            <a:pPr algn="ctr"/>
            <a:endParaRPr sz="13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-32884"/>
            <a:ext cx="9144000" cy="153494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371326">
              <a:buClrTx/>
              <a:defRPr/>
            </a:pPr>
            <a:endParaRPr lang="en-US" sz="2700" dirty="0">
              <a:solidFill>
                <a:srgbClr val="FFFFFF"/>
              </a:solidFill>
              <a:latin typeface="Montserrat" charset="0"/>
              <a:ea typeface="+mn-ea"/>
              <a:cs typeface="+mn-cs"/>
            </a:endParaRPr>
          </a:p>
        </p:txBody>
      </p:sp>
      <p:sp>
        <p:nvSpPr>
          <p:cNvPr id="24" name="Google Shape;59;p14"/>
          <p:cNvSpPr txBox="1">
            <a:spLocks/>
          </p:cNvSpPr>
          <p:nvPr/>
        </p:nvSpPr>
        <p:spPr>
          <a:xfrm>
            <a:off x="311700" y="311463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3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VERVIEW</a:t>
            </a:r>
          </a:p>
        </p:txBody>
      </p:sp>
      <p:grpSp>
        <p:nvGrpSpPr>
          <p:cNvPr id="211" name="Google Shape;211;p28"/>
          <p:cNvGrpSpPr/>
          <p:nvPr/>
        </p:nvGrpSpPr>
        <p:grpSpPr>
          <a:xfrm>
            <a:off x="5678260" y="2600215"/>
            <a:ext cx="2645228" cy="1249136"/>
            <a:chOff x="7571013" y="2346860"/>
            <a:chExt cx="3526970" cy="1665515"/>
          </a:xfrm>
        </p:grpSpPr>
        <p:sp>
          <p:nvSpPr>
            <p:cNvPr id="212" name="Google Shape;212;p28"/>
            <p:cNvSpPr/>
            <p:nvPr/>
          </p:nvSpPr>
          <p:spPr>
            <a:xfrm rot="10800000" flipH="1">
              <a:off x="7571013" y="2346860"/>
              <a:ext cx="3526970" cy="1665515"/>
            </a:xfrm>
            <a:prstGeom prst="homePlate">
              <a:avLst>
                <a:gd name="adj" fmla="val 36473"/>
              </a:avLst>
            </a:prstGeom>
            <a:gradFill>
              <a:gsLst>
                <a:gs pos="0">
                  <a:srgbClr val="CFE2B6"/>
                </a:gs>
                <a:gs pos="46000">
                  <a:srgbClr val="90BA53"/>
                </a:gs>
                <a:gs pos="100000">
                  <a:srgbClr val="536E2C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Google Shape;213;p28"/>
            <p:cNvSpPr/>
            <p:nvPr/>
          </p:nvSpPr>
          <p:spPr>
            <a:xfrm>
              <a:off x="7984669" y="2520514"/>
              <a:ext cx="2329539" cy="1318206"/>
            </a:xfrm>
            <a:prstGeom prst="rect">
              <a:avLst/>
            </a:prstGeom>
            <a:solidFill>
              <a:srgbClr val="CFE2B6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Google Shape;214;p28"/>
            <p:cNvSpPr/>
            <p:nvPr/>
          </p:nvSpPr>
          <p:spPr>
            <a:xfrm>
              <a:off x="10488381" y="2940131"/>
              <a:ext cx="435429" cy="478972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CFE2B6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Google Shape;215;p28"/>
            <p:cNvSpPr/>
            <p:nvPr/>
          </p:nvSpPr>
          <p:spPr>
            <a:xfrm>
              <a:off x="8062599" y="2717952"/>
              <a:ext cx="2173679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>
                <a:buFontTx/>
                <a:buNone/>
              </a:pPr>
              <a:r>
                <a:rPr lang="en-US" sz="1800" b="1" dirty="0" err="1">
                  <a:solidFill>
                    <a:srgbClr val="3F3F3F"/>
                  </a:solidFill>
                  <a:ea typeface="Calibri"/>
                </a:rPr>
                <a:t>UiPath</a:t>
              </a:r>
              <a:endParaRPr lang="en-US" sz="1800" b="1" dirty="0">
                <a:solidFill>
                  <a:srgbClr val="3F3F3F"/>
                </a:solidFill>
                <a:ea typeface="Calibri"/>
              </a:endParaRPr>
            </a:p>
            <a:p>
              <a:pPr algn="ctr">
                <a:buFontTx/>
                <a:buNone/>
              </a:pPr>
              <a:r>
                <a:rPr lang="en-US" sz="1800" b="1" dirty="0">
                  <a:solidFill>
                    <a:srgbClr val="3F3F3F"/>
                  </a:solidFill>
                  <a:ea typeface="Calibri"/>
                </a:rPr>
                <a:t>Robot</a:t>
              </a:r>
              <a:endParaRPr lang="en-US" sz="1800" b="1" dirty="0">
                <a:solidFill>
                  <a:srgbClr val="3F3F3F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21" name="Google Shape;221;p28"/>
          <p:cNvGrpSpPr/>
          <p:nvPr/>
        </p:nvGrpSpPr>
        <p:grpSpPr>
          <a:xfrm>
            <a:off x="3249385" y="2600215"/>
            <a:ext cx="2645228" cy="1249136"/>
            <a:chOff x="4332514" y="2346861"/>
            <a:chExt cx="3526970" cy="1665515"/>
          </a:xfrm>
        </p:grpSpPr>
        <p:sp>
          <p:nvSpPr>
            <p:cNvPr id="222" name="Google Shape;222;p28"/>
            <p:cNvSpPr/>
            <p:nvPr/>
          </p:nvSpPr>
          <p:spPr>
            <a:xfrm rot="10800000" flipH="1">
              <a:off x="4332514" y="2346861"/>
              <a:ext cx="3526970" cy="1665515"/>
            </a:xfrm>
            <a:prstGeom prst="homePlate">
              <a:avLst>
                <a:gd name="adj" fmla="val 36473"/>
              </a:avLst>
            </a:prstGeom>
            <a:gradFill>
              <a:gsLst>
                <a:gs pos="0">
                  <a:srgbClr val="F4BBAC"/>
                </a:gs>
                <a:gs pos="46000">
                  <a:srgbClr val="E4613E"/>
                </a:gs>
                <a:gs pos="100000">
                  <a:srgbClr val="932F14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28"/>
            <p:cNvSpPr/>
            <p:nvPr/>
          </p:nvSpPr>
          <p:spPr>
            <a:xfrm>
              <a:off x="4746170" y="2520515"/>
              <a:ext cx="2329539" cy="1318206"/>
            </a:xfrm>
            <a:prstGeom prst="rect">
              <a:avLst/>
            </a:prstGeom>
            <a:solidFill>
              <a:srgbClr val="F4BBAC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28"/>
            <p:cNvSpPr/>
            <p:nvPr/>
          </p:nvSpPr>
          <p:spPr>
            <a:xfrm>
              <a:off x="7249882" y="2940132"/>
              <a:ext cx="435429" cy="478972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F4BBAC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28"/>
            <p:cNvSpPr/>
            <p:nvPr/>
          </p:nvSpPr>
          <p:spPr>
            <a:xfrm>
              <a:off x="4824100" y="2717953"/>
              <a:ext cx="2173679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>
                <a:buFontTx/>
                <a:buNone/>
              </a:pPr>
              <a:r>
                <a:rPr lang="en-US" sz="1800" b="1" dirty="0" err="1">
                  <a:solidFill>
                    <a:srgbClr val="3F3F3F"/>
                  </a:solidFill>
                  <a:ea typeface="Calibri"/>
                </a:rPr>
                <a:t>UiPath</a:t>
              </a:r>
              <a:endParaRPr lang="en-US" sz="1800" b="1" dirty="0">
                <a:solidFill>
                  <a:srgbClr val="3F3F3F"/>
                </a:solidFill>
                <a:ea typeface="Calibri"/>
              </a:endParaRPr>
            </a:p>
            <a:p>
              <a:pPr algn="ctr">
                <a:buFontTx/>
                <a:buNone/>
              </a:pPr>
              <a:r>
                <a:rPr lang="en-US" sz="1800" b="1" dirty="0">
                  <a:solidFill>
                    <a:srgbClr val="3F3F3F"/>
                  </a:solidFill>
                  <a:ea typeface="Calibri"/>
                </a:rPr>
                <a:t>Orchestrator</a:t>
              </a:r>
              <a:endParaRPr lang="en-US" sz="1800" b="1" dirty="0">
                <a:solidFill>
                  <a:srgbClr val="3F3F3F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" name="Google Shape;218;p28"/>
          <p:cNvSpPr/>
          <p:nvPr/>
        </p:nvSpPr>
        <p:spPr>
          <a:xfrm>
            <a:off x="3249385" y="3939236"/>
            <a:ext cx="2645228" cy="1033153"/>
          </a:xfrm>
          <a:prstGeom prst="homePlate">
            <a:avLst>
              <a:gd name="adj" fmla="val 50000"/>
            </a:avLst>
          </a:prstGeom>
          <a:solidFill>
            <a:srgbClr val="FBEFD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Scheduling</a:t>
            </a:r>
          </a:p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Monitoring</a:t>
            </a:r>
          </a:p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ea typeface="+mn-ea"/>
                <a:cs typeface="+mn-cs"/>
              </a:rPr>
              <a:t>Running</a:t>
            </a:r>
          </a:p>
          <a:p>
            <a:pPr algn="ctr"/>
            <a:endParaRPr sz="135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18;p28"/>
          <p:cNvSpPr/>
          <p:nvPr/>
        </p:nvSpPr>
        <p:spPr>
          <a:xfrm>
            <a:off x="5678260" y="3939236"/>
            <a:ext cx="2645228" cy="1033153"/>
          </a:xfrm>
          <a:prstGeom prst="homePlate">
            <a:avLst>
              <a:gd name="adj" fmla="val 50000"/>
            </a:avLst>
          </a:prstGeom>
          <a:solidFill>
            <a:srgbClr val="FBEFD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14313" indent="-21431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</a:pPr>
            <a:r>
              <a:rPr lang="en-US" sz="1350" kern="1200">
                <a:ea typeface="+mn-ea"/>
                <a:cs typeface="+mn-cs"/>
              </a:rPr>
              <a:t>Executing</a:t>
            </a:r>
            <a:endParaRPr lang="en-US" sz="1350" kern="1200" dirty="0">
              <a:ea typeface="+mn-ea"/>
              <a:cs typeface="+mn-cs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483710"/>
            <a:ext cx="2143125" cy="1071563"/>
          </a:xfrm>
          <a:prstGeom prst="rect">
            <a:avLst/>
          </a:prstGeom>
        </p:spPr>
      </p:pic>
      <p:grpSp>
        <p:nvGrpSpPr>
          <p:cNvPr id="227" name="Google Shape;227;p28"/>
          <p:cNvGrpSpPr/>
          <p:nvPr/>
        </p:nvGrpSpPr>
        <p:grpSpPr>
          <a:xfrm>
            <a:off x="820512" y="2600215"/>
            <a:ext cx="2645228" cy="1249136"/>
            <a:chOff x="1094016" y="2346861"/>
            <a:chExt cx="3526970" cy="1665515"/>
          </a:xfrm>
        </p:grpSpPr>
        <p:sp>
          <p:nvSpPr>
            <p:cNvPr id="228" name="Google Shape;228;p28"/>
            <p:cNvSpPr/>
            <p:nvPr/>
          </p:nvSpPr>
          <p:spPr>
            <a:xfrm rot="10800000" flipH="1">
              <a:off x="1094016" y="2346861"/>
              <a:ext cx="3526970" cy="1665515"/>
            </a:xfrm>
            <a:prstGeom prst="homePlate">
              <a:avLst>
                <a:gd name="adj" fmla="val 36473"/>
              </a:avLst>
            </a:prstGeom>
            <a:gradFill>
              <a:gsLst>
                <a:gs pos="0">
                  <a:srgbClr val="DBDBDB"/>
                </a:gs>
                <a:gs pos="46000">
                  <a:srgbClr val="A8A8A8"/>
                </a:gs>
                <a:gs pos="100000">
                  <a:srgbClr val="636363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9;p28"/>
            <p:cNvSpPr/>
            <p:nvPr/>
          </p:nvSpPr>
          <p:spPr>
            <a:xfrm>
              <a:off x="1507672" y="2520515"/>
              <a:ext cx="2329539" cy="1318206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4011384" y="2940132"/>
              <a:ext cx="435429" cy="478972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EDEDED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28"/>
            <p:cNvSpPr/>
            <p:nvPr/>
          </p:nvSpPr>
          <p:spPr>
            <a:xfrm>
              <a:off x="1585602" y="2717953"/>
              <a:ext cx="2173679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1800" b="1" dirty="0" err="1">
                  <a:solidFill>
                    <a:srgbClr val="3F3F3F"/>
                  </a:solidFill>
                  <a:ea typeface="Calibri"/>
                </a:rPr>
                <a:t>UiPath</a:t>
              </a:r>
              <a:endParaRPr lang="en-US" sz="1800" b="1" dirty="0">
                <a:solidFill>
                  <a:srgbClr val="3F3F3F"/>
                </a:solidFill>
                <a:ea typeface="Calibri"/>
              </a:endParaRPr>
            </a:p>
            <a:p>
              <a:pPr algn="ctr"/>
              <a:r>
                <a:rPr lang="en-US" sz="1800" b="1" dirty="0">
                  <a:solidFill>
                    <a:srgbClr val="3F3F3F"/>
                  </a:solidFill>
                  <a:ea typeface="Calibri"/>
                </a:rPr>
                <a:t>Studio</a:t>
              </a:r>
              <a:endParaRPr sz="1800" b="1" dirty="0">
                <a:solidFill>
                  <a:srgbClr val="3F3F3F"/>
                </a:solidFill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3" name="TextBox 132"/>
          <p:cNvSpPr txBox="1"/>
          <p:nvPr/>
        </p:nvSpPr>
        <p:spPr>
          <a:xfrm>
            <a:off x="2256909" y="1558388"/>
            <a:ext cx="629228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buClrTx/>
              <a:buFontTx/>
              <a:buNone/>
            </a:pPr>
            <a:r>
              <a:rPr lang="en-US" sz="1500" b="1" kern="1200" dirty="0" err="1">
                <a:ea typeface="+mn-ea"/>
                <a:cs typeface="+mn-cs"/>
              </a:rPr>
              <a:t>UiPATH</a:t>
            </a:r>
            <a:r>
              <a:rPr lang="en-US" sz="1500" kern="1200" dirty="0">
                <a:ea typeface="+mn-ea"/>
                <a:cs typeface="+mn-cs"/>
              </a:rPr>
              <a:t> one of the leading vendors for Robotic process Automation which provides a software platform for automation of tasks.</a:t>
            </a:r>
          </a:p>
        </p:txBody>
      </p:sp>
    </p:spTree>
    <p:extLst>
      <p:ext uri="{BB962C8B-B14F-4D97-AF65-F5344CB8AC3E}">
        <p14:creationId xmlns:p14="http://schemas.microsoft.com/office/powerpoint/2010/main" val="2759499902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Aron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5A186"/>
      </a:accent1>
      <a:accent2>
        <a:srgbClr val="F39C11"/>
      </a:accent2>
      <a:accent3>
        <a:srgbClr val="FF0000"/>
      </a:accent3>
      <a:accent4>
        <a:srgbClr val="7030A0"/>
      </a:accent4>
      <a:accent5>
        <a:srgbClr val="009FEB"/>
      </a:accent5>
      <a:accent6>
        <a:srgbClr val="6EA92D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8" id="{52E2D4CE-1013-439E-8533-4CC7874E7596}" vid="{E32191D4-F868-4077-9C9D-42D0FAE779B7}"/>
    </a:ext>
  </a:extLst>
</a:theme>
</file>

<file path=ppt/theme/theme4.xml><?xml version="1.0" encoding="utf-8"?>
<a:theme xmlns:a="http://schemas.openxmlformats.org/drawingml/2006/main" name="Template PresentationGo Dark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6_Office Theme">
  <a:themeElements>
    <a:clrScheme name="slidemodel.com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Office Theme">
  <a:themeElements>
    <a:clrScheme name="Aron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5A186"/>
      </a:accent1>
      <a:accent2>
        <a:srgbClr val="F39C11"/>
      </a:accent2>
      <a:accent3>
        <a:srgbClr val="FF0000"/>
      </a:accent3>
      <a:accent4>
        <a:srgbClr val="7030A0"/>
      </a:accent4>
      <a:accent5>
        <a:srgbClr val="009FEB"/>
      </a:accent5>
      <a:accent6>
        <a:srgbClr val="6EA92D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9_Office Theme">
  <a:themeElements>
    <a:clrScheme name="Custom 2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3081AC"/>
      </a:accent1>
      <a:accent2>
        <a:srgbClr val="ECB448"/>
      </a:accent2>
      <a:accent3>
        <a:srgbClr val="8BB74C"/>
      </a:accent3>
      <a:accent4>
        <a:srgbClr val="5FB7A2"/>
      </a:accent4>
      <a:accent5>
        <a:srgbClr val="E35A35"/>
      </a:accent5>
      <a:accent6>
        <a:srgbClr val="A5A5A5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lidemodel.com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779B7"/>
    </a:accent1>
    <a:accent2>
      <a:srgbClr val="019ADD"/>
    </a:accent2>
    <a:accent3>
      <a:srgbClr val="6BC2ED"/>
    </a:accent3>
    <a:accent4>
      <a:srgbClr val="A7CCDF"/>
    </a:accent4>
    <a:accent5>
      <a:srgbClr val="595959"/>
    </a:accent5>
    <a:accent6>
      <a:srgbClr val="3F3F3F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27</TotalTime>
  <Words>1248</Words>
  <Application>Microsoft Office PowerPoint</Application>
  <PresentationFormat>On-screen Show (16:9)</PresentationFormat>
  <Paragraphs>353</Paragraphs>
  <Slides>2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53" baseType="lpstr">
      <vt:lpstr>MS PGothic</vt:lpstr>
      <vt:lpstr>Arial</vt:lpstr>
      <vt:lpstr>Calibri</vt:lpstr>
      <vt:lpstr>Calibri Light</vt:lpstr>
      <vt:lpstr>DejaVu Sans</vt:lpstr>
      <vt:lpstr>Helvetica</vt:lpstr>
      <vt:lpstr>Montserrat</vt:lpstr>
      <vt:lpstr>Open Sans</vt:lpstr>
      <vt:lpstr>Open Sans Light</vt:lpstr>
      <vt:lpstr>Playfair Display</vt:lpstr>
      <vt:lpstr>Soho Gothic Pro</vt:lpstr>
      <vt:lpstr>Soho Gothic Pro Light</vt:lpstr>
      <vt:lpstr>Times New Roman</vt:lpstr>
      <vt:lpstr>Wingdings</vt:lpstr>
      <vt:lpstr>ヒラギノ角ゴ ProN W3</vt:lpstr>
      <vt:lpstr>Simple Light</vt:lpstr>
      <vt:lpstr>Template PresentationGo</vt:lpstr>
      <vt:lpstr>Portadas</vt:lpstr>
      <vt:lpstr>Template PresentationGo Dark</vt:lpstr>
      <vt:lpstr>6_Office Theme</vt:lpstr>
      <vt:lpstr>7_Office Theme</vt:lpstr>
      <vt:lpstr>8_Office Theme</vt:lpstr>
      <vt:lpstr>9_Office Theme</vt:lpstr>
      <vt:lpstr>1_Simple Light</vt:lpstr>
      <vt:lpstr>Office Theme</vt:lpstr>
      <vt:lpstr>Diapositiva de think-cell</vt:lpstr>
      <vt:lpstr>think-cell Slide</vt:lpstr>
      <vt:lpstr>PowerPoint Presentation</vt:lpstr>
      <vt:lpstr>PowerPoint Presentation</vt:lpstr>
      <vt:lpstr>RPA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PA Center of Excellence</vt:lpstr>
      <vt:lpstr>CoE Scope: Program Phases</vt:lpstr>
      <vt:lpstr>CoE Scope: Documentation</vt:lpstr>
      <vt:lpstr>PowerPoint Presentation</vt:lpstr>
      <vt:lpstr>CoE Roles and Organigram</vt:lpstr>
      <vt:lpstr>PowerPoint Presentation</vt:lpstr>
      <vt:lpstr>CoE Roles and Responsibilities: Core (ISG)</vt:lpstr>
      <vt:lpstr>CoE Roles and Responsibilities: Core (ISG)</vt:lpstr>
      <vt:lpstr>CoE Roles and Responsibilities: Core (ISG)</vt:lpstr>
      <vt:lpstr>CoE Roles and Responsibilities: Core (ISG)</vt:lpstr>
      <vt:lpstr>CoE Roles and Responsibilities: Core (ISG)</vt:lpstr>
      <vt:lpstr>Index</vt:lpstr>
      <vt:lpstr>Operational model: Process Lifecycle</vt:lpstr>
      <vt:lpstr>PowerPoint Presentation</vt:lpstr>
      <vt:lpstr>Index</vt:lpstr>
      <vt:lpstr>CoE Documentation: “Support and Operations Model – Guidelines Kit”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ONGSON, Engelbert R</dc:creator>
  <cp:lastModifiedBy>Desiree Tablante</cp:lastModifiedBy>
  <cp:revision>152</cp:revision>
  <dcterms:modified xsi:type="dcterms:W3CDTF">2019-12-19T02:51:11Z</dcterms:modified>
</cp:coreProperties>
</file>